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notesSlides/notesSlide3.xml" ContentType="application/vnd.openxmlformats-officedocument.presentationml.notesSlide+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ppt/tags/tag122.xml" ContentType="application/vnd.openxmlformats-officedocument.presentationml.tags+xml"/>
  <Override PartName="/ppt/notesSlides/notesSlide9.xml" ContentType="application/vnd.openxmlformats-officedocument.presentationml.notesSlide+xml"/>
  <Override PartName="/ppt/tags/tag12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6" r:id="rId5"/>
  </p:sldMasterIdLst>
  <p:notesMasterIdLst>
    <p:notesMasterId r:id="rId48"/>
  </p:notesMasterIdLst>
  <p:handoutMasterIdLst>
    <p:handoutMasterId r:id="rId49"/>
  </p:handoutMasterIdLst>
  <p:sldIdLst>
    <p:sldId id="275" r:id="rId6"/>
    <p:sldId id="464" r:id="rId7"/>
    <p:sldId id="459" r:id="rId8"/>
    <p:sldId id="487" r:id="rId9"/>
    <p:sldId id="461" r:id="rId10"/>
    <p:sldId id="463" r:id="rId11"/>
    <p:sldId id="490" r:id="rId12"/>
    <p:sldId id="491" r:id="rId13"/>
    <p:sldId id="492" r:id="rId14"/>
    <p:sldId id="493" r:id="rId15"/>
    <p:sldId id="494" r:id="rId16"/>
    <p:sldId id="432" r:id="rId17"/>
    <p:sldId id="466" r:id="rId18"/>
    <p:sldId id="467" r:id="rId19"/>
    <p:sldId id="468" r:id="rId20"/>
    <p:sldId id="448" r:id="rId21"/>
    <p:sldId id="469" r:id="rId22"/>
    <p:sldId id="470" r:id="rId23"/>
    <p:sldId id="450" r:id="rId24"/>
    <p:sldId id="471" r:id="rId25"/>
    <p:sldId id="451" r:id="rId26"/>
    <p:sldId id="452" r:id="rId27"/>
    <p:sldId id="453" r:id="rId28"/>
    <p:sldId id="454" r:id="rId29"/>
    <p:sldId id="261" r:id="rId30"/>
    <p:sldId id="262" r:id="rId31"/>
    <p:sldId id="263" r:id="rId32"/>
    <p:sldId id="264" r:id="rId33"/>
    <p:sldId id="265" r:id="rId34"/>
    <p:sldId id="269" r:id="rId35"/>
    <p:sldId id="456" r:id="rId36"/>
    <p:sldId id="457" r:id="rId37"/>
    <p:sldId id="458" r:id="rId38"/>
    <p:sldId id="472" r:id="rId39"/>
    <p:sldId id="484" r:id="rId40"/>
    <p:sldId id="257" r:id="rId41"/>
    <p:sldId id="486" r:id="rId42"/>
    <p:sldId id="485" r:id="rId43"/>
    <p:sldId id="488" r:id="rId44"/>
    <p:sldId id="445" r:id="rId45"/>
    <p:sldId id="489" r:id="rId46"/>
    <p:sldId id="449" r:id="rId47"/>
  </p:sldIdLst>
  <p:sldSz cx="9144000" cy="6858000" type="screen4x3"/>
  <p:notesSz cx="6858000" cy="9144000"/>
  <p:custDataLst>
    <p:tags r:id="rId50"/>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F90AB7A-704A-4510-A773-DDF54B07325B}">
          <p14:sldIdLst>
            <p14:sldId id="275"/>
            <p14:sldId id="464"/>
            <p14:sldId id="459"/>
            <p14:sldId id="487"/>
            <p14:sldId id="461"/>
            <p14:sldId id="463"/>
            <p14:sldId id="490"/>
            <p14:sldId id="491"/>
            <p14:sldId id="492"/>
            <p14:sldId id="493"/>
            <p14:sldId id="494"/>
            <p14:sldId id="432"/>
            <p14:sldId id="466"/>
            <p14:sldId id="467"/>
            <p14:sldId id="468"/>
            <p14:sldId id="448"/>
            <p14:sldId id="469"/>
            <p14:sldId id="470"/>
            <p14:sldId id="450"/>
            <p14:sldId id="471"/>
            <p14:sldId id="451"/>
            <p14:sldId id="452"/>
            <p14:sldId id="453"/>
            <p14:sldId id="454"/>
            <p14:sldId id="261"/>
            <p14:sldId id="262"/>
            <p14:sldId id="263"/>
            <p14:sldId id="264"/>
            <p14:sldId id="265"/>
            <p14:sldId id="269"/>
            <p14:sldId id="456"/>
            <p14:sldId id="457"/>
            <p14:sldId id="458"/>
            <p14:sldId id="472"/>
            <p14:sldId id="484"/>
            <p14:sldId id="257"/>
            <p14:sldId id="486"/>
            <p14:sldId id="485"/>
            <p14:sldId id="488"/>
            <p14:sldId id="445"/>
            <p14:sldId id="489"/>
            <p14:sldId id="449"/>
          </p14:sldIdLst>
        </p14:section>
      </p14:sectionLst>
    </p:ext>
    <p:ext uri="{EFAFB233-063F-42B5-8137-9DF3F51BA10A}">
      <p15:sldGuideLst xmlns:p15="http://schemas.microsoft.com/office/powerpoint/2012/main">
        <p15:guide id="1" orient="horz" pos="1094" userDrawn="1">
          <p15:clr>
            <a:srgbClr val="A4A3A4"/>
          </p15:clr>
        </p15:guide>
        <p15:guide id="2" pos="50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296C"/>
    <a:srgbClr val="C41300"/>
    <a:srgbClr val="A38A00"/>
    <a:srgbClr val="1144B7"/>
    <a:srgbClr val="FFF8CD"/>
    <a:srgbClr val="2E6EBC"/>
    <a:srgbClr val="CDDCF0"/>
    <a:srgbClr val="4D4D4D"/>
    <a:srgbClr val="DDD9C3"/>
    <a:srgbClr val="F5E3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2376" y="42"/>
      </p:cViewPr>
      <p:guideLst>
        <p:guide orient="horz" pos="1094"/>
        <p:guide pos="501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EC87A6-99AF-0447-A46C-04A87BF23B43}" type="datetimeFigureOut">
              <a:rPr lang="de-DE" smtClean="0">
                <a:latin typeface="Arial" panose="020B0604020202020204" pitchFamily="34" charset="0"/>
              </a:rPr>
              <a:pPr/>
              <a:t>27.11.2023</a:t>
            </a:fld>
            <a:endParaRPr lang="de-DE">
              <a:latin typeface="Arial" panose="020B0604020202020204" pitchFamily="34"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latin typeface="Arial" panose="020B0604020202020204" pitchFamily="34"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ED89952-7765-A246-9B98-985967C89167}" type="slidenum">
              <a:rPr lang="de-DE" smtClean="0">
                <a:latin typeface="Arial" panose="020B0604020202020204" pitchFamily="34" charset="0"/>
              </a:rPr>
              <a:pPr/>
              <a:t>‹Nr.›</a:t>
            </a:fld>
            <a:endParaRPr lang="de-DE">
              <a:latin typeface="Arial" panose="020B0604020202020204" pitchFamily="34" charset="0"/>
            </a:endParaRPr>
          </a:p>
        </p:txBody>
      </p:sp>
    </p:spTree>
    <p:extLst>
      <p:ext uri="{BB962C8B-B14F-4D97-AF65-F5344CB8AC3E}">
        <p14:creationId xmlns:p14="http://schemas.microsoft.com/office/powerpoint/2010/main" val="13729418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3AF4ACD-6439-3F42-9ACE-A859DF9FE0B6}" type="datetimeFigureOut">
              <a:rPr lang="de-DE" smtClean="0">
                <a:latin typeface="Arial" panose="020B0604020202020204" pitchFamily="34" charset="0"/>
              </a:rPr>
              <a:pPr/>
              <a:t>27.11.2023</a:t>
            </a:fld>
            <a:endParaRPr lang="de-DE">
              <a:latin typeface="Arial" panose="020B0604020202020204" pitchFamily="34" charset="0"/>
            </a:endParaRPr>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latin typeface="Arial" panose="020B0604020202020204" pitchFamily="34" charset="0"/>
            </a:endParaRPr>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latin typeface="Arial" panose="020B0604020202020204" pitchFamily="34" charset="0"/>
            </a:endParaRP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6618E0E-F42B-0E4A-A143-5659DDA0DEBB}" type="slidenum">
              <a:rPr lang="de-DE" smtClean="0">
                <a:latin typeface="Arial" panose="020B0604020202020204" pitchFamily="34" charset="0"/>
              </a:rPr>
              <a:pPr/>
              <a:t>‹Nr.›</a:t>
            </a:fld>
            <a:endParaRPr lang="de-DE">
              <a:latin typeface="Arial" panose="020B0604020202020204" pitchFamily="34" charset="0"/>
            </a:endParaRPr>
          </a:p>
        </p:txBody>
      </p:sp>
    </p:spTree>
    <p:extLst>
      <p:ext uri="{BB962C8B-B14F-4D97-AF65-F5344CB8AC3E}">
        <p14:creationId xmlns:p14="http://schemas.microsoft.com/office/powerpoint/2010/main" val="370963485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1</a:t>
            </a:fld>
            <a:endParaRPr lang="de-DE">
              <a:latin typeface="Arial" panose="020B0604020202020204" pitchFamily="34" charset="0"/>
            </a:endParaRPr>
          </a:p>
        </p:txBody>
      </p:sp>
    </p:spTree>
    <p:extLst>
      <p:ext uri="{BB962C8B-B14F-4D97-AF65-F5344CB8AC3E}">
        <p14:creationId xmlns:p14="http://schemas.microsoft.com/office/powerpoint/2010/main" val="3571787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38</a:t>
            </a:fld>
            <a:endParaRPr lang="de-DE">
              <a:latin typeface="Arial" panose="020B0604020202020204" pitchFamily="34" charset="0"/>
            </a:endParaRPr>
          </a:p>
        </p:txBody>
      </p:sp>
    </p:spTree>
    <p:extLst>
      <p:ext uri="{BB962C8B-B14F-4D97-AF65-F5344CB8AC3E}">
        <p14:creationId xmlns:p14="http://schemas.microsoft.com/office/powerpoint/2010/main" val="2045882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3</a:t>
            </a:fld>
            <a:endParaRPr lang="de-DE">
              <a:latin typeface="Arial" panose="020B0604020202020204" pitchFamily="34" charset="0"/>
            </a:endParaRPr>
          </a:p>
        </p:txBody>
      </p:sp>
    </p:spTree>
    <p:extLst>
      <p:ext uri="{BB962C8B-B14F-4D97-AF65-F5344CB8AC3E}">
        <p14:creationId xmlns:p14="http://schemas.microsoft.com/office/powerpoint/2010/main" val="544607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4</a:t>
            </a:fld>
            <a:endParaRPr lang="de-DE">
              <a:latin typeface="Arial" panose="020B0604020202020204" pitchFamily="34" charset="0"/>
            </a:endParaRPr>
          </a:p>
        </p:txBody>
      </p:sp>
    </p:spTree>
    <p:extLst>
      <p:ext uri="{BB962C8B-B14F-4D97-AF65-F5344CB8AC3E}">
        <p14:creationId xmlns:p14="http://schemas.microsoft.com/office/powerpoint/2010/main" val="3038486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12</a:t>
            </a:fld>
            <a:endParaRPr lang="de-DE">
              <a:latin typeface="Arial" panose="020B0604020202020204" pitchFamily="34" charset="0"/>
            </a:endParaRPr>
          </a:p>
        </p:txBody>
      </p:sp>
    </p:spTree>
    <p:extLst>
      <p:ext uri="{BB962C8B-B14F-4D97-AF65-F5344CB8AC3E}">
        <p14:creationId xmlns:p14="http://schemas.microsoft.com/office/powerpoint/2010/main" val="3024951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18</a:t>
            </a:fld>
            <a:endParaRPr lang="de-DE">
              <a:latin typeface="Arial" panose="020B0604020202020204" pitchFamily="34" charset="0"/>
            </a:endParaRPr>
          </a:p>
        </p:txBody>
      </p:sp>
    </p:spTree>
    <p:extLst>
      <p:ext uri="{BB962C8B-B14F-4D97-AF65-F5344CB8AC3E}">
        <p14:creationId xmlns:p14="http://schemas.microsoft.com/office/powerpoint/2010/main" val="1575082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20</a:t>
            </a:fld>
            <a:endParaRPr lang="de-DE">
              <a:latin typeface="Arial" panose="020B0604020202020204" pitchFamily="34" charset="0"/>
            </a:endParaRPr>
          </a:p>
        </p:txBody>
      </p:sp>
    </p:spTree>
    <p:extLst>
      <p:ext uri="{BB962C8B-B14F-4D97-AF65-F5344CB8AC3E}">
        <p14:creationId xmlns:p14="http://schemas.microsoft.com/office/powerpoint/2010/main" val="1132311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5117BD9-41BC-4D5C-9E54-2EF4C03971B2}" type="slidenum">
              <a:rPr lang="de-DE" smtClean="0"/>
              <a:t>30</a:t>
            </a:fld>
            <a:endParaRPr lang="de-DE"/>
          </a:p>
        </p:txBody>
      </p:sp>
    </p:spTree>
    <p:extLst>
      <p:ext uri="{BB962C8B-B14F-4D97-AF65-F5344CB8AC3E}">
        <p14:creationId xmlns:p14="http://schemas.microsoft.com/office/powerpoint/2010/main" val="3732322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34</a:t>
            </a:fld>
            <a:endParaRPr lang="de-DE">
              <a:latin typeface="Arial" panose="020B0604020202020204" pitchFamily="34" charset="0"/>
            </a:endParaRPr>
          </a:p>
        </p:txBody>
      </p:sp>
    </p:spTree>
    <p:extLst>
      <p:ext uri="{BB962C8B-B14F-4D97-AF65-F5344CB8AC3E}">
        <p14:creationId xmlns:p14="http://schemas.microsoft.com/office/powerpoint/2010/main" val="2687900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E6618E0E-F42B-0E4A-A143-5659DDA0DEBB}" type="slidenum">
              <a:rPr lang="de-DE" smtClean="0">
                <a:latin typeface="Arial" panose="020B0604020202020204" pitchFamily="34" charset="0"/>
              </a:rPr>
              <a:pPr/>
              <a:t>37</a:t>
            </a:fld>
            <a:endParaRPr lang="de-DE">
              <a:latin typeface="Arial" panose="020B0604020202020204" pitchFamily="34" charset="0"/>
            </a:endParaRPr>
          </a:p>
        </p:txBody>
      </p:sp>
    </p:spTree>
    <p:extLst>
      <p:ext uri="{BB962C8B-B14F-4D97-AF65-F5344CB8AC3E}">
        <p14:creationId xmlns:p14="http://schemas.microsoft.com/office/powerpoint/2010/main" val="41966770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18.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16.bin"/><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image" Target="../media/image6.jpe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image" Target="../media/image6.jpe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50.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2.xml"/><Relationship Id="rId7" Type="http://schemas.openxmlformats.org/officeDocument/2006/relationships/image" Target="../media/image5.png"/><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6.jpe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6.jpeg"/><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jpe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78.xml"/><Relationship Id="rId9" Type="http://schemas.openxmlformats.org/officeDocument/2006/relationships/image" Target="../media/image6.jpe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81.xml"/><Relationship Id="rId9" Type="http://schemas.openxmlformats.org/officeDocument/2006/relationships/image" Target="../media/image6.jpe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43.bin"/><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slideMaster" Target="../slideMasters/slideMaster2.xml"/><Relationship Id="rId5" Type="http://schemas.openxmlformats.org/officeDocument/2006/relationships/tags" Target="../tags/tag85.xml"/><Relationship Id="rId4" Type="http://schemas.openxmlformats.org/officeDocument/2006/relationships/tags" Target="../tags/tag84.xml"/><Relationship Id="rId9"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2.xml"/><Relationship Id="rId4" Type="http://schemas.openxmlformats.org/officeDocument/2006/relationships/tags" Target="../tags/tag88.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91.xml"/><Relationship Id="rId9" Type="http://schemas.openxmlformats.org/officeDocument/2006/relationships/image" Target="../media/image6.jpe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2.xml"/><Relationship Id="rId4" Type="http://schemas.openxmlformats.org/officeDocument/2006/relationships/tags" Target="../tags/tag94.xml"/><Relationship Id="rId9" Type="http://schemas.openxmlformats.org/officeDocument/2006/relationships/image" Target="../media/image6.jpe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2.xml"/><Relationship Id="rId4" Type="http://schemas.openxmlformats.org/officeDocument/2006/relationships/tags" Target="../tags/tag97.xml"/><Relationship Id="rId9" Type="http://schemas.openxmlformats.org/officeDocument/2006/relationships/image" Target="../media/image6.jpe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2.xml"/><Relationship Id="rId4" Type="http://schemas.openxmlformats.org/officeDocument/2006/relationships/tags" Target="../tags/tag100.xml"/><Relationship Id="rId9"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Master" Target="../slideMasters/slideMaster2.xml"/><Relationship Id="rId4" Type="http://schemas.openxmlformats.org/officeDocument/2006/relationships/tags" Target="../tags/tag103.xml"/><Relationship Id="rId9" Type="http://schemas.openxmlformats.org/officeDocument/2006/relationships/image" Target="../media/image6.jpe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2.xml"/><Relationship Id="rId4" Type="http://schemas.openxmlformats.org/officeDocument/2006/relationships/tags" Target="../tags/tag106.xml"/><Relationship Id="rId9" Type="http://schemas.openxmlformats.org/officeDocument/2006/relationships/image" Target="../media/image6.jpe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2.xml"/><Relationship Id="rId4" Type="http://schemas.openxmlformats.org/officeDocument/2006/relationships/tags" Target="../tags/tag109.xml"/><Relationship Id="rId9" Type="http://schemas.openxmlformats.org/officeDocument/2006/relationships/image" Target="../media/image6.jpe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2.xml"/><Relationship Id="rId4" Type="http://schemas.openxmlformats.org/officeDocument/2006/relationships/tags" Target="../tags/tag112.xml"/><Relationship Id="rId9" Type="http://schemas.openxmlformats.org/officeDocument/2006/relationships/image" Target="../media/image6.jpe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7.jpeg"/><Relationship Id="rId2" Type="http://schemas.openxmlformats.org/officeDocument/2006/relationships/tags" Target="../tags/tag113.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ext uri="{D42A27DB-BD31-4B8C-83A1-F6EECF244321}">
                <p14:modId xmlns:p14="http://schemas.microsoft.com/office/powerpoint/2010/main" val="4176577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
                  <p:embed/>
                </p:oleObj>
              </mc:Choice>
              <mc:Fallback>
                <p:oleObj name="think-cell Slide" r:id="rId4" imgW="360" imgH="360" progId="">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7" name="Straight Connector 16"/>
          <p:cNvCxnSpPr>
            <a:cxnSpLocks/>
          </p:cNvCxnSpPr>
          <p:nvPr userDrawn="1"/>
        </p:nvCxnSpPr>
        <p:spPr>
          <a:xfrm>
            <a:off x="557213" y="625761"/>
            <a:ext cx="7075127"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2" y="6491654"/>
            <a:ext cx="8056318"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hasCustomPrompt="1"/>
          </p:nvPr>
        </p:nvSpPr>
        <p:spPr>
          <a:xfrm>
            <a:off x="557214" y="2829534"/>
            <a:ext cx="8056317" cy="1938992"/>
          </a:xfrm>
        </p:spPr>
        <p:txBody>
          <a:bodyPr/>
          <a:lstStyle>
            <a:lvl1pPr>
              <a:defRPr sz="4000" baseline="0"/>
            </a:lvl1pPr>
          </a:lstStyle>
          <a:p>
            <a:r>
              <a:rPr lang="en-US" err="1"/>
              <a:t>Projekt</a:t>
            </a:r>
            <a:r>
              <a:rPr lang="en-US"/>
              <a:t> und </a:t>
            </a:r>
            <a:r>
              <a:rPr lang="en-US" err="1"/>
              <a:t>Prozess</a:t>
            </a:r>
            <a:r>
              <a:rPr lang="en-US"/>
              <a:t/>
            </a:r>
            <a:br>
              <a:rPr lang="en-US"/>
            </a:br>
            <a:r>
              <a:rPr lang="en-US"/>
              <a:t>Fusion PG </a:t>
            </a:r>
            <a:r>
              <a:rPr lang="en-US" err="1"/>
              <a:t>Arzfeld</a:t>
            </a:r>
            <a:r>
              <a:rPr lang="en-US"/>
              <a:t> und PG Neuerburg</a:t>
            </a:r>
          </a:p>
        </p:txBody>
      </p:sp>
      <p:sp>
        <p:nvSpPr>
          <p:cNvPr id="23" name="Text Placeholder 22"/>
          <p:cNvSpPr>
            <a:spLocks noGrp="1"/>
          </p:cNvSpPr>
          <p:nvPr>
            <p:ph type="body" sz="quarter" idx="10" hasCustomPrompt="1"/>
          </p:nvPr>
        </p:nvSpPr>
        <p:spPr>
          <a:xfrm>
            <a:off x="557214" y="5050221"/>
            <a:ext cx="8056317" cy="461665"/>
          </a:xfrm>
        </p:spPr>
        <p:txBody>
          <a:bodyPr>
            <a:spAutoFit/>
          </a:bodyPr>
          <a:lstStyle>
            <a:lvl1pPr>
              <a:spcBef>
                <a:spcPts val="0"/>
              </a:spcBef>
              <a:defRPr sz="3000" baseline="0"/>
            </a:lvl1pPr>
          </a:lstStyle>
          <a:p>
            <a:pPr lvl="0"/>
            <a:r>
              <a:rPr lang="en-US" err="1"/>
              <a:t>Aspekte</a:t>
            </a:r>
            <a:r>
              <a:rPr lang="en-US"/>
              <a:t> und </a:t>
            </a:r>
            <a:r>
              <a:rPr lang="en-US" err="1"/>
              <a:t>Perspektiven</a:t>
            </a:r>
            <a:endParaRPr lang="en-US"/>
          </a:p>
        </p:txBody>
      </p:sp>
      <p:pic>
        <p:nvPicPr>
          <p:cNvPr id="5" name="Grafik 4">
            <a:extLst>
              <a:ext uri="{FF2B5EF4-FFF2-40B4-BE49-F238E27FC236}">
                <a16:creationId xmlns:a16="http://schemas.microsoft.com/office/drawing/2014/main" xmlns="" id="{43C46950-23FA-BE8B-B4F0-A1D92305FB1C}"/>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800460" y="152636"/>
            <a:ext cx="813071" cy="683471"/>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7524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bwMode="blackWhite">
          <a:xfrm>
            <a:off x="833005" y="2668041"/>
            <a:ext cx="747647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Square"/>
          <p:cNvSpPr>
            <a:spLocks/>
          </p:cNvSpPr>
          <p:nvPr userDrawn="1"/>
        </p:nvSpPr>
        <p:spPr bwMode="white">
          <a:xfrm>
            <a:off x="833004" y="1457803"/>
            <a:ext cx="918000"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227_Slidevorlagen_v01.pptx</a:t>
            </a:r>
          </a:p>
        </p:txBody>
      </p:sp>
    </p:spTree>
    <p:extLst>
      <p:ext uri="{BB962C8B-B14F-4D97-AF65-F5344CB8AC3E}">
        <p14:creationId xmlns:p14="http://schemas.microsoft.com/office/powerpoint/2010/main" val="310591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1392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hasCustomPrompt="1"/>
          </p:nvPr>
        </p:nvSpPr>
        <p:spPr bwMode="blackWhite">
          <a:xfrm>
            <a:off x="557214" y="3826800"/>
            <a:ext cx="7942686" cy="2041200"/>
          </a:xfrm>
        </p:spPr>
        <p:txBody>
          <a:bodyPr anchor="t">
            <a:noAutofit/>
          </a:bodyPr>
          <a:lstStyle>
            <a:lvl1pPr>
              <a:defRPr sz="4400">
                <a:solidFill>
                  <a:schemeClr val="tx2"/>
                </a:solidFill>
                <a:latin typeface="+mj-lt"/>
                <a:sym typeface="Trebuchet MS" panose="020B0603020202020204" pitchFamily="34" charset="0"/>
              </a:defRPr>
            </a:lvl1pPr>
          </a:lstStyle>
          <a:p>
            <a:r>
              <a:rPr lang="en-US"/>
              <a:t>Click to add section title</a:t>
            </a:r>
          </a:p>
        </p:txBody>
      </p:sp>
      <p:cxnSp>
        <p:nvCxnSpPr>
          <p:cNvPr id="10" name="Line"/>
          <p:cNvCxnSpPr/>
          <p:nvPr userDrawn="1"/>
        </p:nvCxnSpPr>
        <p:spPr bwMode="white">
          <a:xfrm>
            <a:off x="557214" y="3682800"/>
            <a:ext cx="8586786"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28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C413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57696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l="29398" t="8741" r="101" b="27"/>
          <a:stretch/>
        </p:blipFill>
        <p:spPr bwMode="ltGray">
          <a:xfrm flipV="1">
            <a:off x="3092352" y="0"/>
            <a:ext cx="397649" cy="6858000"/>
          </a:xfrm>
          <a:prstGeom prst="rect">
            <a:avLst/>
          </a:prstGeom>
        </p:spPr>
      </p:pic>
      <p:sp>
        <p:nvSpPr>
          <p:cNvPr id="63" name="PanelWhite"/>
          <p:cNvSpPr/>
          <p:nvPr userDrawn="1"/>
        </p:nvSpPr>
        <p:spPr bwMode="white">
          <a:xfrm>
            <a:off x="0" y="0"/>
            <a:ext cx="310358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557214" y="2681103"/>
            <a:ext cx="2272767" cy="1495794"/>
          </a:xfrm>
          <a:prstGeom prst="rect">
            <a:avLst/>
          </a:prstGeom>
        </p:spPr>
        <p:txBody>
          <a:bodyPr anchor="ctr">
            <a:noAutofit/>
          </a:bodyPr>
          <a:lstStyle>
            <a:lvl1pPr>
              <a:defRPr sz="20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cxnSp>
        <p:nvCxnSpPr>
          <p:cNvPr id="13" name="Straight Connector 12"/>
          <p:cNvCxnSpPr/>
          <p:nvPr userDrawn="1"/>
        </p:nvCxnSpPr>
        <p:spPr>
          <a:xfrm>
            <a:off x="557213" y="625761"/>
            <a:ext cx="254636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cxnSp>
        <p:nvCxnSpPr>
          <p:cNvPr id="17" name="Straight Connector 16"/>
          <p:cNvCxnSpPr/>
          <p:nvPr userDrawn="1"/>
        </p:nvCxnSpPr>
        <p:spPr>
          <a:xfrm>
            <a:off x="3092352" y="625761"/>
            <a:ext cx="3218586"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103581" y="6491654"/>
            <a:ext cx="5509949"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557213" y="6491654"/>
            <a:ext cx="254636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pic>
        <p:nvPicPr>
          <p:cNvPr id="3" name="Grafik 2">
            <a:extLst>
              <a:ext uri="{FF2B5EF4-FFF2-40B4-BE49-F238E27FC236}">
                <a16:creationId xmlns:a16="http://schemas.microsoft.com/office/drawing/2014/main" xmlns="" id="{A03F3C3E-1DC9-7BAD-3EBF-4C652057CBBC}"/>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4075199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C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86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0"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l="29398" t="8741" r="101" b="27"/>
          <a:stretch/>
        </p:blipFill>
        <p:spPr bwMode="ltGray">
          <a:xfrm flipV="1">
            <a:off x="5345447" y="0"/>
            <a:ext cx="397649" cy="6858000"/>
          </a:xfrm>
          <a:prstGeom prst="rect">
            <a:avLst/>
          </a:prstGeom>
        </p:spPr>
      </p:pic>
      <p:sp>
        <p:nvSpPr>
          <p:cNvPr id="62" name="PanelWhite"/>
          <p:cNvSpPr/>
          <p:nvPr userDrawn="1"/>
        </p:nvSpPr>
        <p:spPr bwMode="white">
          <a:xfrm>
            <a:off x="1" y="0"/>
            <a:ext cx="53566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sp>
        <p:nvSpPr>
          <p:cNvPr id="3" name="Title 2"/>
          <p:cNvSpPr>
            <a:spLocks noGrp="1"/>
          </p:cNvSpPr>
          <p:nvPr>
            <p:ph type="title"/>
          </p:nvPr>
        </p:nvSpPr>
        <p:spPr>
          <a:xfrm>
            <a:off x="557215" y="853777"/>
            <a:ext cx="4709730" cy="400110"/>
          </a:xfrm>
        </p:spPr>
        <p:txBody>
          <a:bodyPr/>
          <a:lstStyle/>
          <a:p>
            <a:r>
              <a:rPr lang="en-US"/>
              <a:t>Click to edit Master title style</a:t>
            </a:r>
          </a:p>
        </p:txBody>
      </p:sp>
      <p:cxnSp>
        <p:nvCxnSpPr>
          <p:cNvPr id="11" name="Straight Connector 10"/>
          <p:cNvCxnSpPr/>
          <p:nvPr userDrawn="1"/>
        </p:nvCxnSpPr>
        <p:spPr>
          <a:xfrm>
            <a:off x="557213" y="625761"/>
            <a:ext cx="4799464"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cxnSp>
        <p:nvCxnSpPr>
          <p:cNvPr id="14" name="Straight Connector 13"/>
          <p:cNvCxnSpPr/>
          <p:nvPr userDrawn="1"/>
        </p:nvCxnSpPr>
        <p:spPr>
          <a:xfrm>
            <a:off x="5356677" y="625761"/>
            <a:ext cx="954261"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5356677" y="6491654"/>
            <a:ext cx="3256853"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57213" y="6491654"/>
            <a:ext cx="4799464"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pic>
        <p:nvPicPr>
          <p:cNvPr id="4" name="Grafik 3">
            <a:extLst>
              <a:ext uri="{FF2B5EF4-FFF2-40B4-BE49-F238E27FC236}">
                <a16:creationId xmlns:a16="http://schemas.microsoft.com/office/drawing/2014/main" xmlns="" id="{3FBB6E7A-FBEA-7A43-2AF9-F02B81E06030}"/>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2967858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C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7405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Shadow"/>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2708124" y="0"/>
            <a:ext cx="397031" cy="6858000"/>
          </a:xfrm>
          <a:prstGeom prst="rect">
            <a:avLst/>
          </a:prstGeom>
        </p:spPr>
      </p:pic>
      <p:sp>
        <p:nvSpPr>
          <p:cNvPr id="63" name="PanelWhite"/>
          <p:cNvSpPr/>
          <p:nvPr userDrawn="1"/>
        </p:nvSpPr>
        <p:spPr bwMode="white">
          <a:xfrm>
            <a:off x="3106195" y="-1309"/>
            <a:ext cx="6037805"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4" name="Title 4"/>
          <p:cNvSpPr>
            <a:spLocks noGrp="1"/>
          </p:cNvSpPr>
          <p:nvPr>
            <p:ph type="title" hasCustomPrompt="1"/>
          </p:nvPr>
        </p:nvSpPr>
        <p:spPr>
          <a:xfrm>
            <a:off x="557214" y="2681103"/>
            <a:ext cx="2272767" cy="1495794"/>
          </a:xfrm>
          <a:prstGeom prst="rect">
            <a:avLst/>
          </a:prstGeom>
        </p:spPr>
        <p:txBody>
          <a:bodyPr anchor="ctr">
            <a:noAutofit/>
          </a:bodyPr>
          <a:lstStyle>
            <a:lvl1pPr>
              <a:defRPr sz="20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227_Slidevorlagen_v01.pptx</a:t>
            </a:r>
          </a:p>
        </p:txBody>
      </p:sp>
      <p:cxnSp>
        <p:nvCxnSpPr>
          <p:cNvPr id="13" name="Straight Connector 12"/>
          <p:cNvCxnSpPr/>
          <p:nvPr userDrawn="1"/>
        </p:nvCxnSpPr>
        <p:spPr>
          <a:xfrm>
            <a:off x="3105155" y="625761"/>
            <a:ext cx="3205783"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15" name="Straight Connector 14"/>
          <p:cNvCxnSpPr/>
          <p:nvPr userDrawn="1"/>
        </p:nvCxnSpPr>
        <p:spPr>
          <a:xfrm>
            <a:off x="3106195" y="6491654"/>
            <a:ext cx="5507335"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57213" y="625761"/>
            <a:ext cx="254898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254898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 name="Grafik 3">
            <a:extLst>
              <a:ext uri="{FF2B5EF4-FFF2-40B4-BE49-F238E27FC236}">
                <a16:creationId xmlns:a16="http://schemas.microsoft.com/office/drawing/2014/main" xmlns="" id="{FB1748A6-E03E-E59B-0453-7D1729129FA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1752233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C413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6433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7" imgW="360" imgH="360" progId="">
                  <p:embed/>
                </p:oleObj>
              </mc:Choice>
              <mc:Fallback>
                <p:oleObj name="think-cell Slide" r:id="rId7" imgW="360" imgH="360" progId="">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3200" b="1" i="0" baseline="0" err="1">
              <a:solidFill>
                <a:srgbClr val="0A296C"/>
              </a:solidFill>
              <a:latin typeface="Arial" panose="020B0604020202020204" pitchFamily="34" charset="0"/>
              <a:ea typeface="+mn-ea"/>
              <a:cs typeface="+mj-cs"/>
              <a:sym typeface="Arial" panose="020B0604020202020204" pitchFamily="34" charset="0"/>
            </a:endParaRPr>
          </a:p>
        </p:txBody>
      </p:sp>
      <p:pic>
        <p:nvPicPr>
          <p:cNvPr id="63" name="Shadow"/>
          <p:cNvPicPr>
            <a:picLocks noChangeAspect="1"/>
          </p:cNvPicPr>
          <p:nvPr userDrawn="1"/>
        </p:nvPicPr>
        <p:blipFill rotWithShape="1">
          <a:blip r:embed="rId9" cstate="print">
            <a:extLst>
              <a:ext uri="{28A0092B-C50C-407E-A947-70E740481C1C}">
                <a14:useLocalDpi xmlns:a14="http://schemas.microsoft.com/office/drawing/2010/main"/>
              </a:ext>
            </a:extLst>
          </a:blip>
          <a:srcRect l="29398" t="8741" r="101" b="27"/>
          <a:stretch/>
        </p:blipFill>
        <p:spPr bwMode="ltGray">
          <a:xfrm flipH="1">
            <a:off x="4175310" y="0"/>
            <a:ext cx="397031" cy="6858000"/>
          </a:xfrm>
          <a:prstGeom prst="rect">
            <a:avLst/>
          </a:prstGeom>
        </p:spPr>
      </p:pic>
      <p:sp>
        <p:nvSpPr>
          <p:cNvPr id="66" name="PanelWhite"/>
          <p:cNvSpPr/>
          <p:nvPr userDrawn="1"/>
        </p:nvSpPr>
        <p:spPr bwMode="white">
          <a:xfrm>
            <a:off x="4573381" y="-1309"/>
            <a:ext cx="457061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4574470" y="0"/>
            <a:ext cx="4569530" cy="6858000"/>
          </a:xfrm>
          <a:prstGeom prst="rect">
            <a:avLst/>
          </a:prstGeom>
          <a:noFill/>
        </p:spPr>
        <p:txBody>
          <a:bodyPr lIns="914400" tIns="914400" rIns="914400" bIns="914400"/>
          <a:lstStyle>
            <a:lvl1pPr algn="ctr">
              <a:defRPr sz="1800" baseline="0">
                <a:latin typeface="+mn-lt"/>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7214" y="1785600"/>
            <a:ext cx="3191472"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4"/>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227_Slidevorlagen_v01.pptx</a:t>
            </a:r>
          </a:p>
        </p:txBody>
      </p:sp>
      <p:sp>
        <p:nvSpPr>
          <p:cNvPr id="16" name="Rectangle 15"/>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sp>
        <p:nvSpPr>
          <p:cNvPr id="17" name="TextBox 16"/>
          <p:cNvSpPr txBox="1"/>
          <p:nvPr userDrawn="1">
            <p:custDataLst>
              <p:tags r:id="rId5"/>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3009525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C413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7850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0" name="Shadow"/>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5426531" y="0"/>
            <a:ext cx="397031" cy="6858000"/>
          </a:xfrm>
          <a:prstGeom prst="rect">
            <a:avLst/>
          </a:prstGeom>
        </p:spPr>
      </p:pic>
      <p:sp>
        <p:nvSpPr>
          <p:cNvPr id="61" name="PanelWhite"/>
          <p:cNvSpPr/>
          <p:nvPr userDrawn="1"/>
        </p:nvSpPr>
        <p:spPr bwMode="white">
          <a:xfrm>
            <a:off x="5824602" y="-1309"/>
            <a:ext cx="3319398"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a:solidFill>
                <a:schemeClr val="bg1"/>
              </a:solidFill>
              <a:latin typeface="+mn-lt"/>
              <a:sym typeface="Trebuchet MS" panose="020B0603020202020204" pitchFamily="34" charset="0"/>
            </a:endParaRPr>
          </a:p>
        </p:txBody>
      </p:sp>
      <p:sp>
        <p:nvSpPr>
          <p:cNvPr id="66" name="Picture Placeholder 5"/>
          <p:cNvSpPr>
            <a:spLocks noGrp="1"/>
          </p:cNvSpPr>
          <p:nvPr>
            <p:ph type="pic" sz="quarter" idx="11" hasCustomPrompt="1"/>
          </p:nvPr>
        </p:nvSpPr>
        <p:spPr>
          <a:xfrm>
            <a:off x="5825692" y="-1309"/>
            <a:ext cx="3318308" cy="6858000"/>
          </a:xfrm>
          <a:prstGeom prst="rect">
            <a:avLst/>
          </a:prstGeom>
          <a:noFill/>
        </p:spPr>
        <p:txBody>
          <a:bodyPr lIns="182880" tIns="914400" rIns="182880" bIns="914400"/>
          <a:lstStyle>
            <a:lvl1pPr algn="ctr">
              <a:defRPr sz="1800">
                <a:solidFill>
                  <a:srgbClr val="0A296C"/>
                </a:solidFill>
                <a:latin typeface="+mn-lt"/>
                <a:sym typeface="ITC Officina Sans Book" panose="02000506040000020003" pitchFamily="2"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557214" y="1785600"/>
            <a:ext cx="4545534"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227_Slidevorlagen_v01.pptx</a:t>
            </a:r>
          </a:p>
        </p:txBody>
      </p:sp>
      <p:sp>
        <p:nvSpPr>
          <p:cNvPr id="12" name="Rectangle 11"/>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2375322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C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3650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bwMode="ltGray">
          <a:xfrm>
            <a:off x="1" y="0"/>
            <a:ext cx="3102800" cy="6859310"/>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557214" y="2771847"/>
            <a:ext cx="1823698" cy="1314311"/>
          </a:xfrm>
          <a:prstGeom prst="rect">
            <a:avLst/>
          </a:prstGeom>
        </p:spPr>
        <p:txBody>
          <a:bodyPr anchor="ctr">
            <a:noAutofit/>
          </a:bodyPr>
          <a:lstStyle>
            <a:lvl1pPr>
              <a:defRPr sz="20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2193041" y="3591995"/>
            <a:ext cx="1300023"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42174 w 1365250"/>
              <a:gd name="connsiteY5" fmla="*/ 3265653 h 3382962"/>
              <a:gd name="connsiteX6" fmla="*/ 11501 w 1365250"/>
              <a:gd name="connsiteY6" fmla="*/ 3299343 h 3382962"/>
              <a:gd name="connsiteX7" fmla="*/ 113895 w 1365250"/>
              <a:gd name="connsiteY7" fmla="*/ 3306486 h 3382962"/>
              <a:gd name="connsiteX8" fmla="*/ 123928 w 1365250"/>
              <a:gd name="connsiteY8" fmla="*/ 3267469 h 3382962"/>
              <a:gd name="connsiteX9" fmla="*/ 129871 w 1365250"/>
              <a:gd name="connsiteY9" fmla="*/ 3267601 h 3382962"/>
              <a:gd name="connsiteX10" fmla="*/ 0 w 1365250"/>
              <a:gd name="connsiteY10" fmla="*/ 0 h 3382962"/>
              <a:gd name="connsiteX11" fmla="*/ 909386 w 1365250"/>
              <a:gd name="connsiteY11" fmla="*/ 0 h 3382962"/>
              <a:gd name="connsiteX12" fmla="*/ 0 w 1365250"/>
              <a:gd name="connsiteY12"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0" h="3382962">
                <a:moveTo>
                  <a:pt x="919541" y="0"/>
                </a:moveTo>
                <a:lnTo>
                  <a:pt x="1365250" y="0"/>
                </a:lnTo>
                <a:lnTo>
                  <a:pt x="1365250" y="3382962"/>
                </a:lnTo>
                <a:lnTo>
                  <a:pt x="0" y="3382962"/>
                </a:lnTo>
                <a:lnTo>
                  <a:pt x="0" y="3264716"/>
                </a:lnTo>
                <a:lnTo>
                  <a:pt x="42174" y="3265653"/>
                </a:lnTo>
                <a:lnTo>
                  <a:pt x="11501" y="3299343"/>
                </a:lnTo>
                <a:lnTo>
                  <a:pt x="113895" y="3306486"/>
                </a:lnTo>
                <a:lnTo>
                  <a:pt x="123928" y="3267469"/>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a:off x="557213" y="625761"/>
            <a:ext cx="190214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cxnSp>
        <p:nvCxnSpPr>
          <p:cNvPr id="17" name="Straight Connector 16"/>
          <p:cNvCxnSpPr/>
          <p:nvPr userDrawn="1"/>
        </p:nvCxnSpPr>
        <p:spPr>
          <a:xfrm>
            <a:off x="2459355" y="625761"/>
            <a:ext cx="3851583"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2398395" y="6491654"/>
            <a:ext cx="6215135"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557213" y="6491654"/>
            <a:ext cx="184118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pic>
        <p:nvPicPr>
          <p:cNvPr id="3" name="Grafik 2">
            <a:extLst>
              <a:ext uri="{FF2B5EF4-FFF2-40B4-BE49-F238E27FC236}">
                <a16:creationId xmlns:a16="http://schemas.microsoft.com/office/drawing/2014/main" xmlns="" id="{6D2A115C-B73A-9829-0C07-CF20D33D23BC}"/>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3526748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406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bwMode="ltGray">
          <a:xfrm>
            <a:off x="1" y="0"/>
            <a:ext cx="3102800" cy="6859310"/>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gradFill>
            <a:gsLst>
              <a:gs pos="0">
                <a:srgbClr val="0A296C"/>
              </a:gs>
              <a:gs pos="10000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1"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The Boston Consulting Group, Inc. All rights reserved.</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sp>
        <p:nvSpPr>
          <p:cNvPr id="3" name="Title 2"/>
          <p:cNvSpPr>
            <a:spLocks noGrp="1"/>
          </p:cNvSpPr>
          <p:nvPr>
            <p:ph type="title" hasCustomPrompt="1"/>
          </p:nvPr>
        </p:nvSpPr>
        <p:spPr>
          <a:xfrm>
            <a:off x="557214" y="2771847"/>
            <a:ext cx="182369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1280155" y="3402829"/>
            <a:ext cx="256592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5" name="Straight Connector 14"/>
          <p:cNvCxnSpPr/>
          <p:nvPr userDrawn="1"/>
        </p:nvCxnSpPr>
        <p:spPr>
          <a:xfrm>
            <a:off x="2466975" y="625761"/>
            <a:ext cx="3843963"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17" name="Straight Connector 16"/>
          <p:cNvCxnSpPr/>
          <p:nvPr userDrawn="1"/>
        </p:nvCxnSpPr>
        <p:spPr>
          <a:xfrm>
            <a:off x="2402205" y="6491654"/>
            <a:ext cx="621132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25761"/>
            <a:ext cx="190976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184499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332196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7604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a:xfrm flipH="1" flipV="1">
            <a:off x="1" y="0"/>
            <a:ext cx="4110713" cy="685931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b="1">
              <a:solidFill>
                <a:prstClr val="white"/>
              </a:solidFill>
              <a:latin typeface="+mn-lt"/>
            </a:endParaRPr>
          </a:p>
        </p:txBody>
      </p:sp>
      <p:sp>
        <p:nvSpPr>
          <p:cNvPr id="20" name="Title 1"/>
          <p:cNvSpPr>
            <a:spLocks noGrp="1"/>
          </p:cNvSpPr>
          <p:nvPr>
            <p:ph type="title" hasCustomPrompt="1"/>
          </p:nvPr>
        </p:nvSpPr>
        <p:spPr>
          <a:xfrm>
            <a:off x="557214" y="1785600"/>
            <a:ext cx="2736000" cy="3286800"/>
          </a:xfrm>
          <a:prstGeom prst="rect">
            <a:avLst/>
          </a:prstGeom>
        </p:spPr>
        <p:txBody>
          <a:bodyPr anchor="ctr">
            <a:noAutofit/>
          </a:bodyPr>
          <a:lstStyle>
            <a:lvl1pPr>
              <a:defRPr sz="3200" b="1">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176393" y="3594368"/>
            <a:ext cx="1300023" cy="3382962"/>
          </a:xfrm>
          <a:custGeom>
            <a:avLst/>
            <a:gdLst>
              <a:gd name="connsiteX0" fmla="*/ 938221 w 1365250"/>
              <a:gd name="connsiteY0" fmla="*/ 0 h 3382962"/>
              <a:gd name="connsiteX1" fmla="*/ 1365250 w 1365250"/>
              <a:gd name="connsiteY1" fmla="*/ 0 h 3382962"/>
              <a:gd name="connsiteX2" fmla="*/ 1365250 w 1365250"/>
              <a:gd name="connsiteY2" fmla="*/ 3382962 h 3382962"/>
              <a:gd name="connsiteX3" fmla="*/ 126131 w 1365250"/>
              <a:gd name="connsiteY3" fmla="*/ 3382962 h 3382962"/>
              <a:gd name="connsiteX4" fmla="*/ 0 w 1365250"/>
              <a:gd name="connsiteY4" fmla="*/ 0 h 3382962"/>
              <a:gd name="connsiteX5" fmla="*/ 655186 w 1365250"/>
              <a:gd name="connsiteY5" fmla="*/ 0 h 3382962"/>
              <a:gd name="connsiteX6" fmla="*/ 0 w 1365250"/>
              <a:gd name="connsiteY6" fmla="*/ 2331602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38221" y="0"/>
                </a:moveTo>
                <a:lnTo>
                  <a:pt x="1365250" y="0"/>
                </a:lnTo>
                <a:lnTo>
                  <a:pt x="1365250" y="3382962"/>
                </a:lnTo>
                <a:lnTo>
                  <a:pt x="126131" y="3382962"/>
                </a:lnTo>
                <a:close/>
                <a:moveTo>
                  <a:pt x="0" y="0"/>
                </a:moveTo>
                <a:lnTo>
                  <a:pt x="655186" y="0"/>
                </a:lnTo>
                <a:lnTo>
                  <a:pt x="0" y="2331602"/>
                </a:lnTo>
                <a:close/>
              </a:path>
            </a:pathLst>
          </a:cu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a:off x="557213" y="625761"/>
            <a:ext cx="291260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8" name="Straight Connector 17"/>
          <p:cNvCxnSpPr/>
          <p:nvPr userDrawn="1"/>
        </p:nvCxnSpPr>
        <p:spPr>
          <a:xfrm>
            <a:off x="3469821" y="625761"/>
            <a:ext cx="2841117"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406140" y="6491654"/>
            <a:ext cx="5207390"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557213" y="6491654"/>
            <a:ext cx="2848927"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373236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63145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3"/>
          </p:nvPr>
        </p:nvSpPr>
        <p:spPr>
          <a:xfrm>
            <a:off x="557214" y="1760025"/>
            <a:ext cx="805631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85197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9914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a:xfrm flipH="1" flipV="1">
            <a:off x="1" y="0"/>
            <a:ext cx="4110713" cy="685931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gradFill>
            <a:gsLst>
              <a:gs pos="100000">
                <a:srgbClr val="0A296C"/>
              </a:gs>
              <a:gs pos="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ndParaRPr>
          </a:p>
        </p:txBody>
      </p:sp>
      <p:sp>
        <p:nvSpPr>
          <p:cNvPr id="17"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The Boston Consulting Group, Inc. All rights reserved.</a:t>
            </a:r>
          </a:p>
        </p:txBody>
      </p:sp>
      <p:sp>
        <p:nvSpPr>
          <p:cNvPr id="20" name="Title 1"/>
          <p:cNvSpPr>
            <a:spLocks noGrp="1"/>
          </p:cNvSpPr>
          <p:nvPr>
            <p:ph type="title" hasCustomPrompt="1"/>
          </p:nvPr>
        </p:nvSpPr>
        <p:spPr>
          <a:xfrm>
            <a:off x="557214" y="1785600"/>
            <a:ext cx="2736000" cy="3286800"/>
          </a:xfrm>
          <a:prstGeom prst="rect">
            <a:avLst/>
          </a:prstGeom>
        </p:spPr>
        <p:txBody>
          <a:bodyPr anchor="ctr">
            <a:noAutofit/>
          </a:bodyPr>
          <a:lstStyle>
            <a:lvl1pPr>
              <a:defRPr sz="3200" b="1">
                <a:solidFill>
                  <a:srgbClr val="FFFFFF"/>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11" name="Picture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2285264" y="3405670"/>
            <a:ext cx="2565924" cy="3461745"/>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8" name="Straight Connector 17"/>
          <p:cNvCxnSpPr/>
          <p:nvPr userDrawn="1"/>
        </p:nvCxnSpPr>
        <p:spPr>
          <a:xfrm>
            <a:off x="3470097" y="625761"/>
            <a:ext cx="2840841"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Rectangle 18"/>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21" name="Straight Connector 20"/>
          <p:cNvCxnSpPr/>
          <p:nvPr userDrawn="1"/>
        </p:nvCxnSpPr>
        <p:spPr>
          <a:xfrm>
            <a:off x="3405883" y="6491654"/>
            <a:ext cx="5207647"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557213" y="625761"/>
            <a:ext cx="2912884"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557213" y="6491654"/>
            <a:ext cx="2848670"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56745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8486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ArrowPanelWhite"/>
          <p:cNvSpPr/>
          <p:nvPr userDrawn="1"/>
        </p:nvSpPr>
        <p:spPr bwMode="white">
          <a:xfrm>
            <a:off x="1" y="0"/>
            <a:ext cx="4826490" cy="6858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912073" y="3591511"/>
            <a:ext cx="1300023" cy="3382962"/>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57215" y="853777"/>
            <a:ext cx="3492000" cy="400110"/>
          </a:xfrm>
        </p:spPr>
        <p:txBody>
          <a:bodyPr/>
          <a:lstStyle/>
          <a:p>
            <a:r>
              <a:rPr lang="en-US"/>
              <a:t>Click to edit Master title style</a:t>
            </a:r>
          </a:p>
        </p:txBody>
      </p:sp>
      <p:cxnSp>
        <p:nvCxnSpPr>
          <p:cNvPr id="10" name="Straight Connector 9"/>
          <p:cNvCxnSpPr/>
          <p:nvPr userDrawn="1"/>
        </p:nvCxnSpPr>
        <p:spPr>
          <a:xfrm>
            <a:off x="557213" y="625761"/>
            <a:ext cx="3627651"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pic>
        <p:nvPicPr>
          <p:cNvPr id="14"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5" name="Straight Connector 14"/>
          <p:cNvCxnSpPr/>
          <p:nvPr userDrawn="1"/>
        </p:nvCxnSpPr>
        <p:spPr>
          <a:xfrm>
            <a:off x="4184864" y="625761"/>
            <a:ext cx="2126074"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4124325" y="6491654"/>
            <a:ext cx="4489205"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491654"/>
            <a:ext cx="356711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3481189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4035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ArrowPanelWhite"/>
          <p:cNvSpPr/>
          <p:nvPr userDrawn="1"/>
        </p:nvSpPr>
        <p:spPr bwMode="white">
          <a:xfrm>
            <a:off x="1" y="0"/>
            <a:ext cx="4826490" cy="6858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gradFill>
            <a:gsLst>
              <a:gs pos="0">
                <a:srgbClr val="0A296C"/>
              </a:gs>
              <a:gs pos="10000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8"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The Boston Consulting Group, Inc. All rights reserved.</a:t>
            </a: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9" name="Picture 8"/>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3000882" y="3405670"/>
            <a:ext cx="2565924" cy="3461745"/>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2" name="Title 1"/>
          <p:cNvSpPr>
            <a:spLocks noGrp="1"/>
          </p:cNvSpPr>
          <p:nvPr>
            <p:ph type="title"/>
          </p:nvPr>
        </p:nvSpPr>
        <p:spPr>
          <a:xfrm>
            <a:off x="557215" y="853777"/>
            <a:ext cx="3492000" cy="400110"/>
          </a:xfrm>
        </p:spPr>
        <p:txBody>
          <a:bodyPr/>
          <a:lstStyle>
            <a:lvl1pPr>
              <a:defRPr>
                <a:solidFill>
                  <a:schemeClr val="bg1"/>
                </a:solidFill>
              </a:defRPr>
            </a:lvl1pPr>
          </a:lstStyle>
          <a:p>
            <a:r>
              <a:rPr lang="en-US"/>
              <a:t>Click to edit Master title style</a:t>
            </a:r>
          </a:p>
        </p:txBody>
      </p:sp>
      <p:sp>
        <p:nvSpPr>
          <p:cNvPr id="10" name="Page"/>
          <p:cNvSpPr txBox="1"/>
          <p:nvPr userDrawn="1"/>
        </p:nvSpPr>
        <p:spPr>
          <a:xfrm>
            <a:off x="8237495" y="6405036"/>
            <a:ext cx="294808"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a:solidFill>
                <a:schemeClr val="bg1"/>
              </a:solidFill>
              <a:latin typeface="+mn-lt"/>
              <a:ea typeface="+mn-ea"/>
              <a:cs typeface="+mn-cs"/>
              <a:sym typeface="Trebuchet MS" panose="020B0603020202020204" pitchFamily="34" charset="0"/>
            </a:endParaRPr>
          </a:p>
        </p:txBody>
      </p:sp>
      <p:pic>
        <p:nvPicPr>
          <p:cNvPr id="12"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4" name="Straight Connector 13"/>
          <p:cNvCxnSpPr/>
          <p:nvPr userDrawn="1"/>
        </p:nvCxnSpPr>
        <p:spPr>
          <a:xfrm>
            <a:off x="4200145" y="625761"/>
            <a:ext cx="2110793"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19" name="Straight Connector 18"/>
          <p:cNvCxnSpPr/>
          <p:nvPr userDrawn="1"/>
        </p:nvCxnSpPr>
        <p:spPr>
          <a:xfrm>
            <a:off x="557213" y="625761"/>
            <a:ext cx="364293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3557587"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114800" y="6491654"/>
            <a:ext cx="4498730"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106881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9860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ArrowPanelWhite"/>
          <p:cNvSpPr/>
          <p:nvPr userDrawn="1"/>
        </p:nvSpPr>
        <p:spPr>
          <a:xfrm flipH="1" flipV="1">
            <a:off x="-3" y="0"/>
            <a:ext cx="6270496" cy="6858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ndParaRP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5357215" y="3591511"/>
            <a:ext cx="1300023" cy="3382962"/>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557215" y="853777"/>
            <a:ext cx="4788000" cy="400110"/>
          </a:xfrm>
        </p:spPr>
        <p:txBody>
          <a:bodyPr/>
          <a:lstStyle/>
          <a:p>
            <a:r>
              <a:rPr lang="en-US"/>
              <a:t>Click to edit Master title style</a:t>
            </a:r>
          </a:p>
        </p:txBody>
      </p:sp>
      <p:cxnSp>
        <p:nvCxnSpPr>
          <p:cNvPr id="12" name="Straight Connector 11"/>
          <p:cNvCxnSpPr/>
          <p:nvPr userDrawn="1"/>
        </p:nvCxnSpPr>
        <p:spPr>
          <a:xfrm>
            <a:off x="557213" y="625761"/>
            <a:ext cx="5073967"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chemeClr val="bg1"/>
                </a:solidFill>
                <a:latin typeface="+mn-lt"/>
                <a:cs typeface="Arial" panose="020B0604020202020204" pitchFamily="34" charset="0"/>
              </a:rPr>
              <a:pPr marL="0" lvl="0" indent="0" algn="r"/>
              <a:t>‹Nr.›</a:t>
            </a:fld>
            <a:endParaRPr lang="en-US" sz="1100">
              <a:solidFill>
                <a:schemeClr val="bg1"/>
              </a:solidFill>
              <a:latin typeface="+mn-lt"/>
              <a:cs typeface="Arial" panose="020B0604020202020204" pitchFamily="34" charset="0"/>
            </a:endParaRPr>
          </a:p>
        </p:txBody>
      </p:sp>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7" name="Straight Connector 16"/>
          <p:cNvCxnSpPr/>
          <p:nvPr userDrawn="1"/>
        </p:nvCxnSpPr>
        <p:spPr>
          <a:xfrm>
            <a:off x="5631180" y="625761"/>
            <a:ext cx="679758"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69258" y="6491654"/>
            <a:ext cx="304427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491654"/>
            <a:ext cx="501204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3710022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34712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ArrowPanelWhite"/>
          <p:cNvSpPr/>
          <p:nvPr userDrawn="1"/>
        </p:nvSpPr>
        <p:spPr>
          <a:xfrm flipH="1" flipV="1">
            <a:off x="-3" y="0"/>
            <a:ext cx="6270496" cy="6858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gradFill>
            <a:gsLst>
              <a:gs pos="100000">
                <a:srgbClr val="0A296C"/>
              </a:gs>
              <a:gs pos="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ndParaRPr>
          </a:p>
        </p:txBody>
      </p:sp>
      <p:sp>
        <p:nvSpPr>
          <p:cNvPr id="9"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The Boston Consulting Group, Inc. All rights reserved.</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pPr lvl="0"/>
            <a:r>
              <a:rPr lang="en-US" sz="700">
                <a:latin typeface="+mn-lt"/>
                <a:sym typeface="Trebuchet MS" panose="020B0603020202020204" pitchFamily="34" charset="0"/>
              </a:rPr>
              <a:t>20200227_Slidevorlagen_v01.pptx</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rot="120000">
            <a:off x="4440884" y="3405670"/>
            <a:ext cx="2565924" cy="3461745"/>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3" name="Title 2"/>
          <p:cNvSpPr>
            <a:spLocks noGrp="1"/>
          </p:cNvSpPr>
          <p:nvPr>
            <p:ph type="title"/>
          </p:nvPr>
        </p:nvSpPr>
        <p:spPr>
          <a:xfrm>
            <a:off x="557215" y="853777"/>
            <a:ext cx="4788000" cy="400110"/>
          </a:xfrm>
        </p:spPr>
        <p:txBody>
          <a:bodyPr/>
          <a:lstStyle>
            <a:lvl1pPr>
              <a:defRPr>
                <a:solidFill>
                  <a:schemeClr val="bg1"/>
                </a:solidFill>
              </a:defRPr>
            </a:lvl1pPr>
          </a:lstStyle>
          <a:p>
            <a:r>
              <a:rPr lang="en-US"/>
              <a:t>Click to edit Master title style</a:t>
            </a:r>
          </a:p>
        </p:txBody>
      </p:sp>
      <p:cxnSp>
        <p:nvCxnSpPr>
          <p:cNvPr id="16" name="Straight Connector 15"/>
          <p:cNvCxnSpPr/>
          <p:nvPr userDrawn="1"/>
        </p:nvCxnSpPr>
        <p:spPr>
          <a:xfrm>
            <a:off x="5638800" y="625761"/>
            <a:ext cx="67213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Rectangle 16"/>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18" name="Straight Connector 17"/>
          <p:cNvCxnSpPr/>
          <p:nvPr userDrawn="1"/>
        </p:nvCxnSpPr>
        <p:spPr>
          <a:xfrm>
            <a:off x="5571858" y="6491654"/>
            <a:ext cx="3041672"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25761"/>
            <a:ext cx="5081587"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5014645"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 name="Grafik 3">
            <a:extLst>
              <a:ext uri="{FF2B5EF4-FFF2-40B4-BE49-F238E27FC236}">
                <a16:creationId xmlns:a16="http://schemas.microsoft.com/office/drawing/2014/main" xmlns="" id="{D4CC13EA-1779-85AF-D195-6CC43B73F1A6}"/>
              </a:ext>
            </a:extLst>
          </p:cNvPr>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25728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ext uri="{D42A27DB-BD31-4B8C-83A1-F6EECF244321}">
                <p14:modId xmlns:p14="http://schemas.microsoft.com/office/powerpoint/2010/main" val="3958683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4" imgW="360" imgH="360" progId="">
                  <p:embed/>
                </p:oleObj>
              </mc:Choice>
              <mc:Fallback>
                <p:oleObj name="think-cell Slide" r:id="rId4" imgW="360" imgH="360" progId="">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7" name="Straight Connector 16"/>
          <p:cNvCxnSpPr>
            <a:cxnSpLocks/>
          </p:cNvCxnSpPr>
          <p:nvPr userDrawn="1"/>
        </p:nvCxnSpPr>
        <p:spPr>
          <a:xfrm>
            <a:off x="557213" y="1006057"/>
            <a:ext cx="6715087"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2" y="6491654"/>
            <a:ext cx="8056318"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 name="Grafik 1">
            <a:extLst>
              <a:ext uri="{FF2B5EF4-FFF2-40B4-BE49-F238E27FC236}">
                <a16:creationId xmlns:a16="http://schemas.microsoft.com/office/drawing/2014/main" xmlns="" id="{40479F49-767E-FBB0-0502-C819A9DCF63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1572107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2032636"/>
            <a:ext cx="6858000" cy="1477328"/>
          </a:xfrm>
        </p:spPr>
        <p:txBody>
          <a:bodyPr anchor="b"/>
          <a:lstStyle>
            <a:lvl1pPr algn="ctr">
              <a:defRPr sz="4500"/>
            </a:lvl1pPr>
          </a:lstStyle>
          <a:p>
            <a:r>
              <a:rPr lang="de-DE"/>
              <a:t>Titelmasterformat durch Klicken bearbeiten</a:t>
            </a:r>
          </a:p>
        </p:txBody>
      </p:sp>
      <p:sp>
        <p:nvSpPr>
          <p:cNvPr id="3" name="Untertitel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AA6C554F-81EB-4BF0-B94E-ED0F3E4B3EAD}" type="datetimeFigureOut">
              <a:rPr lang="de-DE" smtClean="0"/>
              <a:t>27.11.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4EC6A78E-58AA-4A5F-BEB0-8ED1E234B01B}" type="slidenum">
              <a:rPr lang="de-DE" smtClean="0"/>
              <a:t>‹Nr.›</a:t>
            </a:fld>
            <a:endParaRPr lang="de-DE"/>
          </a:p>
        </p:txBody>
      </p:sp>
    </p:spTree>
    <p:extLst>
      <p:ext uri="{BB962C8B-B14F-4D97-AF65-F5344CB8AC3E}">
        <p14:creationId xmlns:p14="http://schemas.microsoft.com/office/powerpoint/2010/main" val="2894135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286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291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AA6C554F-81EB-4BF0-B94E-ED0F3E4B3EAD}" type="datetimeFigureOut">
              <a:rPr lang="de-DE" smtClean="0"/>
              <a:t>27.11.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4EC6A78E-58AA-4A5F-BEB0-8ED1E234B01B}" type="slidenum">
              <a:rPr lang="de-DE" smtClean="0"/>
              <a:t>‹Nr.›</a:t>
            </a:fld>
            <a:endParaRPr lang="de-DE"/>
          </a:p>
        </p:txBody>
      </p:sp>
    </p:spTree>
    <p:extLst>
      <p:ext uri="{BB962C8B-B14F-4D97-AF65-F5344CB8AC3E}">
        <p14:creationId xmlns:p14="http://schemas.microsoft.com/office/powerpoint/2010/main" val="32931991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350" b="0" i="0">
                <a:solidFill>
                  <a:srgbClr val="C9252B"/>
                </a:solidFill>
                <a:latin typeface="Klavika Lt"/>
                <a:cs typeface="Klavika Lt"/>
              </a:defRPr>
            </a:lvl1pPr>
          </a:lstStyle>
          <a:p>
            <a:endParaRPr/>
          </a:p>
        </p:txBody>
      </p:sp>
      <p:sp>
        <p:nvSpPr>
          <p:cNvPr id="3" name="Holder 3"/>
          <p:cNvSpPr>
            <a:spLocks noGrp="1"/>
          </p:cNvSpPr>
          <p:nvPr>
            <p:ph type="body" idx="1"/>
          </p:nvPr>
        </p:nvSpPr>
        <p:spPr/>
        <p:txBody>
          <a:bodyPr lIns="0" tIns="0" rIns="0" bIns="0"/>
          <a:lstStyle>
            <a:lvl1pPr>
              <a:defRPr sz="2200" b="1" i="0">
                <a:solidFill>
                  <a:srgbClr val="C9252B"/>
                </a:solidFill>
                <a:latin typeface="Klavika Bd"/>
                <a:cs typeface="Klavika Bd"/>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5498929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5" imgW="360" imgH="360" progId="">
                  <p:embed/>
                </p:oleObj>
              </mc:Choice>
              <mc:Fallback>
                <p:oleObj name="think-cell Slide" r:id="rId5" imgW="360" imgH="360" progId="">
                  <p:embed/>
                  <p:pic>
                    <p:nvPicPr>
                      <p:cNvPr id="24"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Bild 5" descr="Logo_EB_0018.jpg"/>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7" name="Straight Connector 16"/>
          <p:cNvCxnSpPr/>
          <p:nvPr userDrawn="1"/>
        </p:nvCxnSpPr>
        <p:spPr>
          <a:xfrm>
            <a:off x="557213" y="625761"/>
            <a:ext cx="575372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2" y="6491654"/>
            <a:ext cx="805631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hasCustomPrompt="1"/>
          </p:nvPr>
        </p:nvSpPr>
        <p:spPr>
          <a:xfrm>
            <a:off x="557214" y="2829534"/>
            <a:ext cx="8056317" cy="1323439"/>
          </a:xfrm>
        </p:spPr>
        <p:txBody>
          <a:bodyPr/>
          <a:lstStyle>
            <a:lvl1pPr>
              <a:defRPr sz="4000" baseline="0"/>
            </a:lvl1pPr>
          </a:lstStyle>
          <a:p>
            <a:r>
              <a:rPr lang="en-US" err="1"/>
              <a:t>Titel</a:t>
            </a:r>
            <a:r>
              <a:rPr lang="en-US"/>
              <a:t> der </a:t>
            </a:r>
            <a:r>
              <a:rPr lang="en-US" err="1"/>
              <a:t>Präsentation</a:t>
            </a:r>
            <a:r>
              <a:rPr lang="en-US"/>
              <a:t/>
            </a:r>
            <a:br>
              <a:rPr lang="en-US"/>
            </a:br>
            <a:r>
              <a:rPr lang="en-US"/>
              <a:t>Arial 40 </a:t>
            </a:r>
            <a:r>
              <a:rPr lang="en-US" err="1"/>
              <a:t>pt</a:t>
            </a:r>
            <a:r>
              <a:rPr lang="en-US"/>
              <a:t>, bold</a:t>
            </a:r>
          </a:p>
        </p:txBody>
      </p:sp>
      <p:sp>
        <p:nvSpPr>
          <p:cNvPr id="23" name="Text Placeholder 22"/>
          <p:cNvSpPr>
            <a:spLocks noGrp="1"/>
          </p:cNvSpPr>
          <p:nvPr>
            <p:ph type="body" sz="quarter" idx="10" hasCustomPrompt="1"/>
          </p:nvPr>
        </p:nvSpPr>
        <p:spPr>
          <a:xfrm>
            <a:off x="557214" y="4588556"/>
            <a:ext cx="8056317" cy="923330"/>
          </a:xfrm>
        </p:spPr>
        <p:txBody>
          <a:bodyPr>
            <a:spAutoFit/>
          </a:bodyPr>
          <a:lstStyle>
            <a:lvl1pPr>
              <a:spcBef>
                <a:spcPts val="0"/>
              </a:spcBef>
              <a:defRPr sz="3000" baseline="0"/>
            </a:lvl1pPr>
          </a:lstStyle>
          <a:p>
            <a:pPr lvl="0"/>
            <a:r>
              <a:rPr lang="en-US" err="1"/>
              <a:t>Untertitel</a:t>
            </a:r>
            <a:r>
              <a:rPr lang="en-US"/>
              <a:t> der </a:t>
            </a:r>
            <a:r>
              <a:rPr lang="en-US" err="1"/>
              <a:t>Präsentation</a:t>
            </a:r>
            <a:r>
              <a:rPr lang="en-US"/>
              <a:t>,</a:t>
            </a:r>
          </a:p>
          <a:p>
            <a:pPr lvl="0"/>
            <a:r>
              <a:rPr lang="en-US"/>
              <a:t>Arial 30 </a:t>
            </a:r>
            <a:r>
              <a:rPr lang="en-US" err="1"/>
              <a:t>pt</a:t>
            </a:r>
            <a:r>
              <a:rPr lang="en-US"/>
              <a:t>, bold</a:t>
            </a:r>
          </a:p>
        </p:txBody>
      </p:sp>
      <p:sp>
        <p:nvSpPr>
          <p:cNvPr id="10" name="TextBox 9"/>
          <p:cNvSpPr txBox="1"/>
          <p:nvPr userDrawn="1">
            <p:custDataLst>
              <p:tags r:id="rId3"/>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737614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8242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7413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9"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3"/>
          </p:nvPr>
        </p:nvSpPr>
        <p:spPr>
          <a:xfrm>
            <a:off x="557214" y="1760025"/>
            <a:ext cx="805631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340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16842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7"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972114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und Text - Hintergrund">
    <p:bg>
      <p:bgPr>
        <a:solidFill>
          <a:srgbClr val="F2F2F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1"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3"/>
          </p:nvPr>
        </p:nvSpPr>
        <p:spPr>
          <a:xfrm>
            <a:off x="557214" y="1760025"/>
            <a:ext cx="805631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34334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ur Titel - Hintergrun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4398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Hintergrun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09011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 Hintergrund dunkel">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Bild 5" descr="Logo_EB_0018.jpg"/>
          <p:cNvPicPr>
            <a:picLocks noChangeAspect="1"/>
          </p:cNvPicPr>
          <p:nvPr userDrawn="1"/>
        </p:nvPicPr>
        <p:blipFill>
          <a:blip r:embed="rId7"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5" name="Straight Connector 4"/>
          <p:cNvCxnSpPr/>
          <p:nvPr userDrawn="1"/>
        </p:nvCxnSpPr>
        <p:spPr>
          <a:xfrm>
            <a:off x="557213" y="625761"/>
            <a:ext cx="5753725" cy="0"/>
          </a:xfrm>
          <a:prstGeom prst="line">
            <a:avLst/>
          </a:prstGeom>
          <a:ln w="6350" cap="flat" cmpd="sng" algn="ctr">
            <a:solidFill>
              <a:srgbClr val="FFF8C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 name="Rectangle 5"/>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CDDCF0"/>
                </a:solidFill>
                <a:cs typeface="Arial" panose="020B0604020202020204" pitchFamily="34" charset="0"/>
              </a:rPr>
              <a:pPr algn="r"/>
              <a:t>‹Nr.›</a:t>
            </a:fld>
            <a:endParaRPr lang="en-US" sz="1100">
              <a:solidFill>
                <a:srgbClr val="CDDCF0"/>
              </a:solidFill>
              <a:cs typeface="Arial" panose="020B0604020202020204" pitchFamily="34" charset="0"/>
            </a:endParaRPr>
          </a:p>
        </p:txBody>
      </p:sp>
      <p:cxnSp>
        <p:nvCxnSpPr>
          <p:cNvPr id="7" name="Straight Connector 6"/>
          <p:cNvCxnSpPr/>
          <p:nvPr userDrawn="1"/>
        </p:nvCxnSpPr>
        <p:spPr>
          <a:xfrm>
            <a:off x="557212" y="6491654"/>
            <a:ext cx="8056318" cy="0"/>
          </a:xfrm>
          <a:prstGeom prst="line">
            <a:avLst/>
          </a:prstGeom>
          <a:ln w="6350" cap="flat" cmpd="sng" algn="ctr">
            <a:solidFill>
              <a:srgbClr val="FFF8C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custDataLst>
              <p:tags r:id="rId3"/>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8174655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Blank Blau">
    <p:bg>
      <p:bgPr>
        <a:solidFill>
          <a:srgbClr val="0A296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Box 13"/>
          <p:cNvSpPr txBox="1"/>
          <p:nvPr userDrawn="1">
            <p:custDataLst>
              <p:tags r:id="rId3"/>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pic>
        <p:nvPicPr>
          <p:cNvPr id="10" name="Bild 5" descr="Logo_EB_0018.jpg"/>
          <p:cNvPicPr>
            <a:picLocks noChangeAspect="1"/>
          </p:cNvPicPr>
          <p:nvPr userDrawn="1"/>
        </p:nvPicPr>
        <p:blipFill>
          <a:blip r:embed="rId7"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1" name="Straight Connector 10"/>
          <p:cNvCxnSpPr/>
          <p:nvPr userDrawn="1"/>
        </p:nvCxnSpPr>
        <p:spPr>
          <a:xfrm>
            <a:off x="557213" y="625761"/>
            <a:ext cx="5753725" cy="0"/>
          </a:xfrm>
          <a:prstGeom prst="line">
            <a:avLst/>
          </a:prstGeom>
          <a:ln w="6350" cap="flat" cmpd="sng" algn="ctr">
            <a:solidFill>
              <a:srgbClr val="FFF8C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CDDCF0"/>
                </a:solidFill>
                <a:cs typeface="Arial" panose="020B0604020202020204" pitchFamily="34" charset="0"/>
              </a:rPr>
              <a:pPr algn="r"/>
              <a:t>‹Nr.›</a:t>
            </a:fld>
            <a:endParaRPr lang="en-US" sz="1100">
              <a:solidFill>
                <a:srgbClr val="CDDCF0"/>
              </a:solidFill>
              <a:cs typeface="Arial" panose="020B0604020202020204" pitchFamily="34" charset="0"/>
            </a:endParaRPr>
          </a:p>
        </p:txBody>
      </p:sp>
      <p:cxnSp>
        <p:nvCxnSpPr>
          <p:cNvPr id="15" name="Straight Connector 14"/>
          <p:cNvCxnSpPr/>
          <p:nvPr userDrawn="1"/>
        </p:nvCxnSpPr>
        <p:spPr>
          <a:xfrm>
            <a:off x="557212" y="6491654"/>
            <a:ext cx="8056318" cy="0"/>
          </a:xfrm>
          <a:prstGeom prst="line">
            <a:avLst/>
          </a:prstGeom>
          <a:ln w="6350" cap="flat" cmpd="sng" algn="ctr">
            <a:solidFill>
              <a:srgbClr val="FFF8C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68154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1"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PanelGray"/>
          <p:cNvSpPr/>
          <p:nvPr userDrawn="1"/>
        </p:nvSpPr>
        <p:spPr bwMode="white">
          <a:xfrm>
            <a:off x="1" y="-1309"/>
            <a:ext cx="3551413"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557214" y="2158990"/>
            <a:ext cx="2718909"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7214" y="1227051"/>
            <a:ext cx="2718909" cy="664797"/>
          </a:xfrm>
        </p:spPr>
        <p:txBody>
          <a:bodyPr anchor="t">
            <a:noAutofit/>
          </a:bodyPr>
          <a:lstStyle>
            <a:lvl1pPr>
              <a:defRPr sz="20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20200227_Slidevorlagen_v01.pptx</a:t>
            </a:r>
          </a:p>
        </p:txBody>
      </p:sp>
      <p:pic>
        <p:nvPicPr>
          <p:cNvPr id="13" name="Bild 5" descr="Logo_EB_0018.jpg"/>
          <p:cNvPicPr>
            <a:picLocks noChangeAspect="1"/>
          </p:cNvPicPr>
          <p:nvPr userDrawn="1"/>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4" name="Straight Connector 13"/>
          <p:cNvCxnSpPr/>
          <p:nvPr userDrawn="1"/>
        </p:nvCxnSpPr>
        <p:spPr>
          <a:xfrm>
            <a:off x="557213" y="625761"/>
            <a:ext cx="575372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16" name="Straight Connector 15"/>
          <p:cNvCxnSpPr/>
          <p:nvPr userDrawn="1"/>
        </p:nvCxnSpPr>
        <p:spPr>
          <a:xfrm>
            <a:off x="557212" y="6491654"/>
            <a:ext cx="805631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319544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5"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bwMode="blackWhite">
          <a:xfrm>
            <a:off x="833005" y="2668041"/>
            <a:ext cx="747647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Square"/>
          <p:cNvSpPr>
            <a:spLocks/>
          </p:cNvSpPr>
          <p:nvPr userDrawn="1"/>
        </p:nvSpPr>
        <p:spPr bwMode="white">
          <a:xfrm>
            <a:off x="833004" y="1457803"/>
            <a:ext cx="918000"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20200227_Slidevorlagen_v01.pptx</a:t>
            </a:r>
          </a:p>
        </p:txBody>
      </p:sp>
    </p:spTree>
    <p:extLst>
      <p:ext uri="{BB962C8B-B14F-4D97-AF65-F5344CB8AC3E}">
        <p14:creationId xmlns:p14="http://schemas.microsoft.com/office/powerpoint/2010/main" val="85867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911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05627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hasCustomPrompt="1"/>
          </p:nvPr>
        </p:nvSpPr>
        <p:spPr bwMode="blackWhite">
          <a:xfrm>
            <a:off x="557214" y="3826800"/>
            <a:ext cx="7942686" cy="2041200"/>
          </a:xfrm>
        </p:spPr>
        <p:txBody>
          <a:bodyPr anchor="t">
            <a:noAutofit/>
          </a:bodyPr>
          <a:lstStyle>
            <a:lvl1pPr>
              <a:defRPr sz="4400">
                <a:solidFill>
                  <a:schemeClr val="tx2"/>
                </a:solidFill>
                <a:latin typeface="+mj-lt"/>
                <a:sym typeface="Trebuchet MS" panose="020B0603020202020204" pitchFamily="34" charset="0"/>
              </a:defRPr>
            </a:lvl1pPr>
          </a:lstStyle>
          <a:p>
            <a:r>
              <a:rPr lang="en-US"/>
              <a:t>Click to add section title</a:t>
            </a:r>
          </a:p>
        </p:txBody>
      </p:sp>
      <p:cxnSp>
        <p:nvCxnSpPr>
          <p:cNvPr id="10" name="Line"/>
          <p:cNvCxnSpPr/>
          <p:nvPr userDrawn="1"/>
        </p:nvCxnSpPr>
        <p:spPr bwMode="white">
          <a:xfrm>
            <a:off x="557214" y="3682800"/>
            <a:ext cx="8586786"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438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C413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3"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l="29398" t="8741" r="101" b="27"/>
          <a:stretch/>
        </p:blipFill>
        <p:spPr bwMode="ltGray">
          <a:xfrm flipV="1">
            <a:off x="3092352" y="0"/>
            <a:ext cx="397649" cy="6858000"/>
          </a:xfrm>
          <a:prstGeom prst="rect">
            <a:avLst/>
          </a:prstGeom>
        </p:spPr>
      </p:pic>
      <p:sp>
        <p:nvSpPr>
          <p:cNvPr id="63" name="PanelWhite"/>
          <p:cNvSpPr/>
          <p:nvPr userDrawn="1"/>
        </p:nvSpPr>
        <p:spPr bwMode="white">
          <a:xfrm>
            <a:off x="0" y="0"/>
            <a:ext cx="310358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557214" y="2681103"/>
            <a:ext cx="2272767" cy="1495794"/>
          </a:xfrm>
          <a:prstGeom prst="rect">
            <a:avLst/>
          </a:prstGeom>
        </p:spPr>
        <p:txBody>
          <a:bodyPr anchor="ctr">
            <a:noAutofit/>
          </a:bodyPr>
          <a:lstStyle>
            <a:lvl1pPr>
              <a:defRPr sz="20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cxnSp>
        <p:nvCxnSpPr>
          <p:cNvPr id="13" name="Straight Connector 12"/>
          <p:cNvCxnSpPr/>
          <p:nvPr userDrawn="1"/>
        </p:nvCxnSpPr>
        <p:spPr>
          <a:xfrm>
            <a:off x="557213" y="625761"/>
            <a:ext cx="254636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cxnSp>
        <p:nvCxnSpPr>
          <p:cNvPr id="17" name="Straight Connector 16"/>
          <p:cNvCxnSpPr/>
          <p:nvPr userDrawn="1"/>
        </p:nvCxnSpPr>
        <p:spPr>
          <a:xfrm>
            <a:off x="3092352" y="625761"/>
            <a:ext cx="3218586"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103581" y="6491654"/>
            <a:ext cx="5509949"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557213" y="6491654"/>
            <a:ext cx="254636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pic>
        <p:nvPicPr>
          <p:cNvPr id="3" name="Grafik 2">
            <a:extLst>
              <a:ext uri="{FF2B5EF4-FFF2-40B4-BE49-F238E27FC236}">
                <a16:creationId xmlns:a16="http://schemas.microsoft.com/office/drawing/2014/main" xmlns="" id="{1F5936BE-AD56-B898-B4E9-119C183B3A53}"/>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1097671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0"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l="29398" t="8741" r="101" b="27"/>
          <a:stretch/>
        </p:blipFill>
        <p:spPr bwMode="ltGray">
          <a:xfrm flipV="1">
            <a:off x="5345447" y="0"/>
            <a:ext cx="397649" cy="6858000"/>
          </a:xfrm>
          <a:prstGeom prst="rect">
            <a:avLst/>
          </a:prstGeom>
        </p:spPr>
      </p:pic>
      <p:sp>
        <p:nvSpPr>
          <p:cNvPr id="62" name="PanelWhite"/>
          <p:cNvSpPr/>
          <p:nvPr userDrawn="1"/>
        </p:nvSpPr>
        <p:spPr bwMode="white">
          <a:xfrm>
            <a:off x="1" y="0"/>
            <a:ext cx="53566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sp>
        <p:nvSpPr>
          <p:cNvPr id="3" name="Title 2"/>
          <p:cNvSpPr>
            <a:spLocks noGrp="1"/>
          </p:cNvSpPr>
          <p:nvPr>
            <p:ph type="title"/>
          </p:nvPr>
        </p:nvSpPr>
        <p:spPr>
          <a:xfrm>
            <a:off x="557215" y="853777"/>
            <a:ext cx="4709730" cy="400110"/>
          </a:xfrm>
        </p:spPr>
        <p:txBody>
          <a:bodyPr/>
          <a:lstStyle/>
          <a:p>
            <a:r>
              <a:rPr lang="en-US"/>
              <a:t>Click to edit Master title style</a:t>
            </a:r>
          </a:p>
        </p:txBody>
      </p:sp>
      <p:cxnSp>
        <p:nvCxnSpPr>
          <p:cNvPr id="11" name="Straight Connector 10"/>
          <p:cNvCxnSpPr/>
          <p:nvPr userDrawn="1"/>
        </p:nvCxnSpPr>
        <p:spPr>
          <a:xfrm>
            <a:off x="557213" y="625761"/>
            <a:ext cx="4799464"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pic>
        <p:nvPicPr>
          <p:cNvPr id="13"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4" name="Straight Connector 13"/>
          <p:cNvCxnSpPr/>
          <p:nvPr userDrawn="1"/>
        </p:nvCxnSpPr>
        <p:spPr>
          <a:xfrm>
            <a:off x="5356677" y="625761"/>
            <a:ext cx="954261"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5356677" y="6491654"/>
            <a:ext cx="3256853"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57213" y="6491654"/>
            <a:ext cx="4799464"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411578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l="29398" t="8741" r="101" b="27"/>
          <a:stretch/>
        </p:blipFill>
        <p:spPr bwMode="ltGray">
          <a:xfrm flipH="1">
            <a:off x="2708124" y="0"/>
            <a:ext cx="397031" cy="6858000"/>
          </a:xfrm>
          <a:prstGeom prst="rect">
            <a:avLst/>
          </a:prstGeom>
        </p:spPr>
      </p:pic>
      <p:sp>
        <p:nvSpPr>
          <p:cNvPr id="63" name="PanelWhite"/>
          <p:cNvSpPr/>
          <p:nvPr userDrawn="1"/>
        </p:nvSpPr>
        <p:spPr bwMode="white">
          <a:xfrm>
            <a:off x="3106195" y="-1309"/>
            <a:ext cx="6037805"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4" name="Title 4"/>
          <p:cNvSpPr>
            <a:spLocks noGrp="1"/>
          </p:cNvSpPr>
          <p:nvPr>
            <p:ph type="title" hasCustomPrompt="1"/>
          </p:nvPr>
        </p:nvSpPr>
        <p:spPr>
          <a:xfrm>
            <a:off x="557214" y="2681103"/>
            <a:ext cx="2272767" cy="1495794"/>
          </a:xfrm>
          <a:prstGeom prst="rect">
            <a:avLst/>
          </a:prstGeom>
        </p:spPr>
        <p:txBody>
          <a:bodyPr anchor="ctr">
            <a:noAutofit/>
          </a:bodyPr>
          <a:lstStyle>
            <a:lvl1pPr>
              <a:defRPr sz="20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20200227_Slidevorlagen_v01.pptx</a:t>
            </a:r>
          </a:p>
        </p:txBody>
      </p:sp>
      <p:pic>
        <p:nvPicPr>
          <p:cNvPr id="12"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3" name="Straight Connector 12"/>
          <p:cNvCxnSpPr/>
          <p:nvPr userDrawn="1"/>
        </p:nvCxnSpPr>
        <p:spPr>
          <a:xfrm>
            <a:off x="3105155" y="625761"/>
            <a:ext cx="3205783"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15" name="Straight Connector 14"/>
          <p:cNvCxnSpPr/>
          <p:nvPr userDrawn="1"/>
        </p:nvCxnSpPr>
        <p:spPr>
          <a:xfrm>
            <a:off x="3106195" y="6491654"/>
            <a:ext cx="550733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57213" y="625761"/>
            <a:ext cx="254898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254898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4065571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 name="think-cell Slide" r:id="rId7" imgW="360" imgH="360" progId="">
                  <p:embed/>
                </p:oleObj>
              </mc:Choice>
              <mc:Fallback>
                <p:oleObj name="think-cell Slide" r:id="rId7" imgW="360" imgH="360" progId="">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200" b="1" err="1">
              <a:solidFill>
                <a:srgbClr val="0A296C"/>
              </a:solidFill>
              <a:sym typeface="Arial" panose="020B0604020202020204" pitchFamily="34" charset="0"/>
            </a:endParaRPr>
          </a:p>
        </p:txBody>
      </p:sp>
      <p:pic>
        <p:nvPicPr>
          <p:cNvPr id="63" name="Shadow"/>
          <p:cNvPicPr>
            <a:picLocks noChangeAspect="1"/>
          </p:cNvPicPr>
          <p:nvPr userDrawn="1"/>
        </p:nvPicPr>
        <p:blipFill rotWithShape="1">
          <a:blip r:embed="rId9" cstate="print">
            <a:extLst>
              <a:ext uri="{28A0092B-C50C-407E-A947-70E740481C1C}">
                <a14:useLocalDpi xmlns:a14="http://schemas.microsoft.com/office/drawing/2010/main"/>
              </a:ext>
            </a:extLst>
          </a:blip>
          <a:srcRect l="29398" t="8741" r="101" b="27"/>
          <a:stretch/>
        </p:blipFill>
        <p:spPr bwMode="ltGray">
          <a:xfrm flipH="1">
            <a:off x="4175310" y="0"/>
            <a:ext cx="397031" cy="6858000"/>
          </a:xfrm>
          <a:prstGeom prst="rect">
            <a:avLst/>
          </a:prstGeom>
        </p:spPr>
      </p:pic>
      <p:sp>
        <p:nvSpPr>
          <p:cNvPr id="66" name="PanelWhite"/>
          <p:cNvSpPr/>
          <p:nvPr userDrawn="1"/>
        </p:nvSpPr>
        <p:spPr bwMode="white">
          <a:xfrm>
            <a:off x="4573381" y="-1309"/>
            <a:ext cx="457061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4574470" y="0"/>
            <a:ext cx="4569530" cy="6858000"/>
          </a:xfrm>
          <a:prstGeom prst="rect">
            <a:avLst/>
          </a:prstGeom>
          <a:noFill/>
        </p:spPr>
        <p:txBody>
          <a:bodyPr lIns="914400" tIns="914400" rIns="914400" bIns="914400"/>
          <a:lstStyle>
            <a:lvl1pPr algn="ctr">
              <a:defRPr sz="1800" baseline="0">
                <a:latin typeface="+mn-lt"/>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7214" y="1785600"/>
            <a:ext cx="3191472"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4"/>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20200227_Slidevorlagen_v01.pptx</a:t>
            </a:r>
          </a:p>
        </p:txBody>
      </p:sp>
      <p:sp>
        <p:nvSpPr>
          <p:cNvPr id="16" name="Rectangle 15"/>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sp>
        <p:nvSpPr>
          <p:cNvPr id="17" name="TextBox 16"/>
          <p:cNvSpPr txBox="1"/>
          <p:nvPr userDrawn="1">
            <p:custDataLst>
              <p:tags r:id="rId5"/>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3431682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0"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l="29398" t="8741" r="101" b="27"/>
          <a:stretch/>
        </p:blipFill>
        <p:spPr bwMode="ltGray">
          <a:xfrm flipH="1">
            <a:off x="5426531" y="0"/>
            <a:ext cx="397031" cy="6858000"/>
          </a:xfrm>
          <a:prstGeom prst="rect">
            <a:avLst/>
          </a:prstGeom>
        </p:spPr>
      </p:pic>
      <p:sp>
        <p:nvSpPr>
          <p:cNvPr id="61" name="PanelWhite"/>
          <p:cNvSpPr/>
          <p:nvPr userDrawn="1"/>
        </p:nvSpPr>
        <p:spPr bwMode="white">
          <a:xfrm>
            <a:off x="5824602" y="-1309"/>
            <a:ext cx="3319398"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endParaRPr lang="en-US" sz="1200">
              <a:solidFill>
                <a:prstClr val="white"/>
              </a:solidFill>
              <a:sym typeface="Trebuchet MS" panose="020B0603020202020204" pitchFamily="34" charset="0"/>
            </a:endParaRPr>
          </a:p>
        </p:txBody>
      </p:sp>
      <p:sp>
        <p:nvSpPr>
          <p:cNvPr id="66" name="Picture Placeholder 5"/>
          <p:cNvSpPr>
            <a:spLocks noGrp="1"/>
          </p:cNvSpPr>
          <p:nvPr>
            <p:ph type="pic" sz="quarter" idx="11" hasCustomPrompt="1"/>
          </p:nvPr>
        </p:nvSpPr>
        <p:spPr>
          <a:xfrm>
            <a:off x="5825692" y="-1309"/>
            <a:ext cx="3318308" cy="6858000"/>
          </a:xfrm>
          <a:prstGeom prst="rect">
            <a:avLst/>
          </a:prstGeom>
          <a:noFill/>
        </p:spPr>
        <p:txBody>
          <a:bodyPr lIns="182880" tIns="914400" rIns="182880" bIns="914400"/>
          <a:lstStyle>
            <a:lvl1pPr algn="ctr">
              <a:defRPr sz="1800">
                <a:solidFill>
                  <a:srgbClr val="0A296C"/>
                </a:solidFill>
                <a:latin typeface="+mn-lt"/>
                <a:sym typeface="ITC Officina Sans Book" panose="02000506040000020003" pitchFamily="2"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557214" y="1785600"/>
            <a:ext cx="4545534"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20200227_Slidevorlagen_v01.pptx</a:t>
            </a:r>
          </a:p>
        </p:txBody>
      </p:sp>
      <p:sp>
        <p:nvSpPr>
          <p:cNvPr id="12" name="Rectangle 11"/>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sp>
        <p:nvSpPr>
          <p:cNvPr id="16" name="TextBox 15"/>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1710714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bwMode="ltGray">
          <a:xfrm>
            <a:off x="1" y="0"/>
            <a:ext cx="3102800" cy="6859310"/>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557214" y="2771847"/>
            <a:ext cx="1823698" cy="1314311"/>
          </a:xfrm>
          <a:prstGeom prst="rect">
            <a:avLst/>
          </a:prstGeom>
        </p:spPr>
        <p:txBody>
          <a:bodyPr anchor="ctr">
            <a:noAutofit/>
          </a:bodyPr>
          <a:lstStyle>
            <a:lvl1pPr>
              <a:defRPr sz="20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2193041" y="3591995"/>
            <a:ext cx="1300023"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42174 w 1365250"/>
              <a:gd name="connsiteY5" fmla="*/ 3265653 h 3382962"/>
              <a:gd name="connsiteX6" fmla="*/ 11501 w 1365250"/>
              <a:gd name="connsiteY6" fmla="*/ 3299343 h 3382962"/>
              <a:gd name="connsiteX7" fmla="*/ 113895 w 1365250"/>
              <a:gd name="connsiteY7" fmla="*/ 3306486 h 3382962"/>
              <a:gd name="connsiteX8" fmla="*/ 123928 w 1365250"/>
              <a:gd name="connsiteY8" fmla="*/ 3267469 h 3382962"/>
              <a:gd name="connsiteX9" fmla="*/ 129871 w 1365250"/>
              <a:gd name="connsiteY9" fmla="*/ 3267601 h 3382962"/>
              <a:gd name="connsiteX10" fmla="*/ 0 w 1365250"/>
              <a:gd name="connsiteY10" fmla="*/ 0 h 3382962"/>
              <a:gd name="connsiteX11" fmla="*/ 909386 w 1365250"/>
              <a:gd name="connsiteY11" fmla="*/ 0 h 3382962"/>
              <a:gd name="connsiteX12" fmla="*/ 0 w 1365250"/>
              <a:gd name="connsiteY12"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0" h="3382962">
                <a:moveTo>
                  <a:pt x="919541" y="0"/>
                </a:moveTo>
                <a:lnTo>
                  <a:pt x="1365250" y="0"/>
                </a:lnTo>
                <a:lnTo>
                  <a:pt x="1365250" y="3382962"/>
                </a:lnTo>
                <a:lnTo>
                  <a:pt x="0" y="3382962"/>
                </a:lnTo>
                <a:lnTo>
                  <a:pt x="0" y="3264716"/>
                </a:lnTo>
                <a:lnTo>
                  <a:pt x="42174" y="3265653"/>
                </a:lnTo>
                <a:lnTo>
                  <a:pt x="11501" y="3299343"/>
                </a:lnTo>
                <a:lnTo>
                  <a:pt x="113895" y="3306486"/>
                </a:lnTo>
                <a:lnTo>
                  <a:pt x="123928" y="3267469"/>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a:off x="557213" y="625761"/>
            <a:ext cx="190214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7" name="Straight Connector 16"/>
          <p:cNvCxnSpPr/>
          <p:nvPr userDrawn="1"/>
        </p:nvCxnSpPr>
        <p:spPr>
          <a:xfrm>
            <a:off x="2459355" y="625761"/>
            <a:ext cx="3851583"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2398395" y="6491654"/>
            <a:ext cx="6215135"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557213" y="6491654"/>
            <a:ext cx="184118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1878119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7"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bwMode="ltGray">
          <a:xfrm>
            <a:off x="1" y="0"/>
            <a:ext cx="3102800" cy="6859310"/>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gradFill>
            <a:gsLst>
              <a:gs pos="0">
                <a:srgbClr val="0A296C"/>
              </a:gs>
              <a:gs pos="10000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1"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The Boston Consulting Group, Inc. All rights reserved.</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sp>
        <p:nvSpPr>
          <p:cNvPr id="3" name="Title 2"/>
          <p:cNvSpPr>
            <a:spLocks noGrp="1"/>
          </p:cNvSpPr>
          <p:nvPr>
            <p:ph type="title" hasCustomPrompt="1"/>
          </p:nvPr>
        </p:nvSpPr>
        <p:spPr>
          <a:xfrm>
            <a:off x="557214" y="2771847"/>
            <a:ext cx="182369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1280155" y="3402829"/>
            <a:ext cx="256592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5" name="Straight Connector 14"/>
          <p:cNvCxnSpPr/>
          <p:nvPr userDrawn="1"/>
        </p:nvCxnSpPr>
        <p:spPr>
          <a:xfrm>
            <a:off x="2466975" y="625761"/>
            <a:ext cx="3843963"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17" name="Straight Connector 16"/>
          <p:cNvCxnSpPr/>
          <p:nvPr userDrawn="1"/>
        </p:nvCxnSpPr>
        <p:spPr>
          <a:xfrm>
            <a:off x="2402205" y="6491654"/>
            <a:ext cx="621132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25761"/>
            <a:ext cx="190976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184499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453922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a:xfrm flipH="1" flipV="1">
            <a:off x="1" y="0"/>
            <a:ext cx="4110713" cy="685931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b="1">
              <a:solidFill>
                <a:prstClr val="white"/>
              </a:solidFill>
            </a:endParaRPr>
          </a:p>
        </p:txBody>
      </p:sp>
      <p:sp>
        <p:nvSpPr>
          <p:cNvPr id="20" name="Title 1"/>
          <p:cNvSpPr>
            <a:spLocks noGrp="1"/>
          </p:cNvSpPr>
          <p:nvPr>
            <p:ph type="title" hasCustomPrompt="1"/>
          </p:nvPr>
        </p:nvSpPr>
        <p:spPr>
          <a:xfrm>
            <a:off x="557214" y="1785600"/>
            <a:ext cx="2736000" cy="3286800"/>
          </a:xfrm>
          <a:prstGeom prst="rect">
            <a:avLst/>
          </a:prstGeom>
        </p:spPr>
        <p:txBody>
          <a:bodyPr anchor="ctr">
            <a:noAutofit/>
          </a:bodyPr>
          <a:lstStyle>
            <a:lvl1pPr>
              <a:defRPr sz="3200" b="1">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176393" y="3594368"/>
            <a:ext cx="1300023" cy="3382962"/>
          </a:xfrm>
          <a:custGeom>
            <a:avLst/>
            <a:gdLst>
              <a:gd name="connsiteX0" fmla="*/ 938221 w 1365250"/>
              <a:gd name="connsiteY0" fmla="*/ 0 h 3382962"/>
              <a:gd name="connsiteX1" fmla="*/ 1365250 w 1365250"/>
              <a:gd name="connsiteY1" fmla="*/ 0 h 3382962"/>
              <a:gd name="connsiteX2" fmla="*/ 1365250 w 1365250"/>
              <a:gd name="connsiteY2" fmla="*/ 3382962 h 3382962"/>
              <a:gd name="connsiteX3" fmla="*/ 126131 w 1365250"/>
              <a:gd name="connsiteY3" fmla="*/ 3382962 h 3382962"/>
              <a:gd name="connsiteX4" fmla="*/ 0 w 1365250"/>
              <a:gd name="connsiteY4" fmla="*/ 0 h 3382962"/>
              <a:gd name="connsiteX5" fmla="*/ 655186 w 1365250"/>
              <a:gd name="connsiteY5" fmla="*/ 0 h 3382962"/>
              <a:gd name="connsiteX6" fmla="*/ 0 w 1365250"/>
              <a:gd name="connsiteY6" fmla="*/ 2331602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38221" y="0"/>
                </a:moveTo>
                <a:lnTo>
                  <a:pt x="1365250" y="0"/>
                </a:lnTo>
                <a:lnTo>
                  <a:pt x="1365250" y="3382962"/>
                </a:lnTo>
                <a:lnTo>
                  <a:pt x="126131" y="3382962"/>
                </a:lnTo>
                <a:close/>
                <a:moveTo>
                  <a:pt x="0" y="0"/>
                </a:moveTo>
                <a:lnTo>
                  <a:pt x="655186" y="0"/>
                </a:lnTo>
                <a:lnTo>
                  <a:pt x="0" y="2331602"/>
                </a:lnTo>
                <a:close/>
              </a:path>
            </a:pathLst>
          </a:cu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a:off x="557213" y="625761"/>
            <a:ext cx="291260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8" name="Straight Connector 17"/>
          <p:cNvCxnSpPr/>
          <p:nvPr userDrawn="1"/>
        </p:nvCxnSpPr>
        <p:spPr>
          <a:xfrm>
            <a:off x="3469821" y="625761"/>
            <a:ext cx="2841117"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406140" y="6491654"/>
            <a:ext cx="5207390"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557213" y="6491654"/>
            <a:ext cx="2848927"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407230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ArrowPanelWhite"/>
          <p:cNvSpPr/>
          <p:nvPr userDrawn="1"/>
        </p:nvSpPr>
        <p:spPr>
          <a:xfrm flipH="1" flipV="1">
            <a:off x="1" y="0"/>
            <a:ext cx="4110713" cy="685931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gradFill>
            <a:gsLst>
              <a:gs pos="100000">
                <a:srgbClr val="0A296C"/>
              </a:gs>
              <a:gs pos="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17"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The Boston Consulting Group, Inc. All rights reserved.</a:t>
            </a:r>
          </a:p>
        </p:txBody>
      </p:sp>
      <p:sp>
        <p:nvSpPr>
          <p:cNvPr id="20" name="Title 1"/>
          <p:cNvSpPr>
            <a:spLocks noGrp="1"/>
          </p:cNvSpPr>
          <p:nvPr>
            <p:ph type="title" hasCustomPrompt="1"/>
          </p:nvPr>
        </p:nvSpPr>
        <p:spPr>
          <a:xfrm>
            <a:off x="557214" y="1785600"/>
            <a:ext cx="2736000" cy="3286800"/>
          </a:xfrm>
          <a:prstGeom prst="rect">
            <a:avLst/>
          </a:prstGeom>
        </p:spPr>
        <p:txBody>
          <a:bodyPr anchor="ctr">
            <a:noAutofit/>
          </a:bodyPr>
          <a:lstStyle>
            <a:lvl1pPr>
              <a:defRPr sz="3200" b="1">
                <a:solidFill>
                  <a:srgbClr val="FFFFFF"/>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11" name="Picture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2285264" y="3405670"/>
            <a:ext cx="2565924" cy="3461745"/>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8" name="Straight Connector 17"/>
          <p:cNvCxnSpPr/>
          <p:nvPr userDrawn="1"/>
        </p:nvCxnSpPr>
        <p:spPr>
          <a:xfrm>
            <a:off x="3470097" y="625761"/>
            <a:ext cx="2840841"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Rectangle 18"/>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21" name="Straight Connector 20"/>
          <p:cNvCxnSpPr/>
          <p:nvPr userDrawn="1"/>
        </p:nvCxnSpPr>
        <p:spPr>
          <a:xfrm>
            <a:off x="3405883" y="6491654"/>
            <a:ext cx="5207647"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557213" y="625761"/>
            <a:ext cx="2912884"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557213" y="6491654"/>
            <a:ext cx="2848670"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690189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 Hintergrund">
    <p:bg>
      <p:bgPr>
        <a:solidFill>
          <a:srgbClr val="F2F2F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00642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3"/>
          </p:nvPr>
        </p:nvSpPr>
        <p:spPr>
          <a:xfrm>
            <a:off x="557214" y="1760025"/>
            <a:ext cx="805631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925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ArrowPanelWhite"/>
          <p:cNvSpPr/>
          <p:nvPr userDrawn="1"/>
        </p:nvSpPr>
        <p:spPr bwMode="white">
          <a:xfrm>
            <a:off x="1" y="0"/>
            <a:ext cx="4826490" cy="6858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912073" y="3591511"/>
            <a:ext cx="1300023" cy="3382962"/>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57215" y="853777"/>
            <a:ext cx="3492000" cy="400110"/>
          </a:xfrm>
        </p:spPr>
        <p:txBody>
          <a:bodyPr/>
          <a:lstStyle/>
          <a:p>
            <a:r>
              <a:rPr lang="en-US"/>
              <a:t>Click to edit Master title style</a:t>
            </a:r>
          </a:p>
        </p:txBody>
      </p:sp>
      <p:cxnSp>
        <p:nvCxnSpPr>
          <p:cNvPr id="10" name="Straight Connector 9"/>
          <p:cNvCxnSpPr/>
          <p:nvPr userDrawn="1"/>
        </p:nvCxnSpPr>
        <p:spPr>
          <a:xfrm>
            <a:off x="557213" y="625761"/>
            <a:ext cx="3627651"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pic>
        <p:nvPicPr>
          <p:cNvPr id="14"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5" name="Straight Connector 14"/>
          <p:cNvCxnSpPr/>
          <p:nvPr userDrawn="1"/>
        </p:nvCxnSpPr>
        <p:spPr>
          <a:xfrm>
            <a:off x="4184864" y="625761"/>
            <a:ext cx="2126074"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4124325" y="6491654"/>
            <a:ext cx="4489205"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491654"/>
            <a:ext cx="356711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3551181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ArrowPanelWhite"/>
          <p:cNvSpPr/>
          <p:nvPr userDrawn="1"/>
        </p:nvSpPr>
        <p:spPr bwMode="white">
          <a:xfrm>
            <a:off x="1" y="0"/>
            <a:ext cx="4826490" cy="6858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gradFill>
            <a:gsLst>
              <a:gs pos="0">
                <a:srgbClr val="0A296C"/>
              </a:gs>
              <a:gs pos="10000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8"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The Boston Consulting Group, Inc. All rights reserved.</a:t>
            </a:r>
          </a:p>
        </p:txBody>
      </p:sp>
      <p:sp>
        <p:nvSpPr>
          <p:cNvPr id="11"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9" name="Picture 8"/>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3000882" y="3405670"/>
            <a:ext cx="2565924" cy="3461745"/>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2" name="Title 1"/>
          <p:cNvSpPr>
            <a:spLocks noGrp="1"/>
          </p:cNvSpPr>
          <p:nvPr>
            <p:ph type="title"/>
          </p:nvPr>
        </p:nvSpPr>
        <p:spPr>
          <a:xfrm>
            <a:off x="557215" y="853777"/>
            <a:ext cx="3492000" cy="400110"/>
          </a:xfrm>
        </p:spPr>
        <p:txBody>
          <a:bodyPr/>
          <a:lstStyle>
            <a:lvl1pPr>
              <a:defRPr>
                <a:solidFill>
                  <a:schemeClr val="bg1"/>
                </a:solidFill>
              </a:defRPr>
            </a:lvl1pPr>
          </a:lstStyle>
          <a:p>
            <a:r>
              <a:rPr lang="en-US"/>
              <a:t>Click to edit Master title style</a:t>
            </a:r>
          </a:p>
        </p:txBody>
      </p:sp>
      <p:sp>
        <p:nvSpPr>
          <p:cNvPr id="10" name="Page"/>
          <p:cNvSpPr txBox="1"/>
          <p:nvPr userDrawn="1"/>
        </p:nvSpPr>
        <p:spPr>
          <a:xfrm>
            <a:off x="8237495" y="6405036"/>
            <a:ext cx="294808" cy="153888"/>
          </a:xfrm>
          <a:prstGeom prst="rect">
            <a:avLst/>
          </a:prstGeom>
          <a:noFill/>
        </p:spPr>
        <p:txBody>
          <a:bodyPr wrap="square" lIns="0" tIns="0" rIns="0" bIns="0" rtlCol="0" anchor="b">
            <a:spAutoFit/>
          </a:bodyPr>
          <a:lstStyle/>
          <a:p>
            <a:pPr algn="r" defTabSz="914400">
              <a:defRPr/>
            </a:pPr>
            <a:fld id="{DFCF27A5-1A5B-48D3-A060-2758FFBB1ADD}" type="slidenum">
              <a:rPr lang="en-US" sz="1000" smtClean="0">
                <a:solidFill>
                  <a:prstClr val="white"/>
                </a:solidFill>
                <a:sym typeface="Trebuchet MS" panose="020B0603020202020204" pitchFamily="34" charset="0"/>
              </a:rPr>
              <a:pPr algn="r" defTabSz="914400">
                <a:defRPr/>
              </a:pPr>
              <a:t>‹Nr.›</a:t>
            </a:fld>
            <a:endParaRPr lang="en-US" sz="1000">
              <a:solidFill>
                <a:prstClr val="white"/>
              </a:solidFill>
              <a:sym typeface="Trebuchet MS" panose="020B0603020202020204" pitchFamily="34" charset="0"/>
            </a:endParaRPr>
          </a:p>
        </p:txBody>
      </p:sp>
      <p:pic>
        <p:nvPicPr>
          <p:cNvPr id="12"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4" name="Straight Connector 13"/>
          <p:cNvCxnSpPr/>
          <p:nvPr userDrawn="1"/>
        </p:nvCxnSpPr>
        <p:spPr>
          <a:xfrm>
            <a:off x="4200145" y="625761"/>
            <a:ext cx="2110793"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19" name="Straight Connector 18"/>
          <p:cNvCxnSpPr/>
          <p:nvPr userDrawn="1"/>
        </p:nvCxnSpPr>
        <p:spPr>
          <a:xfrm>
            <a:off x="557213" y="625761"/>
            <a:ext cx="364293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3557587"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114800" y="6491654"/>
            <a:ext cx="4498730"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1921214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0A296C"/>
            </a:gs>
            <a:gs pos="100000">
              <a:srgbClr val="0A296C"/>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ArrowPanelWhite"/>
          <p:cNvSpPr/>
          <p:nvPr userDrawn="1"/>
        </p:nvSpPr>
        <p:spPr>
          <a:xfrm flipH="1" flipV="1">
            <a:off x="-3" y="0"/>
            <a:ext cx="6270496" cy="6858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5357215" y="3591511"/>
            <a:ext cx="1300023" cy="3382962"/>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557215" y="853777"/>
            <a:ext cx="4788000" cy="400110"/>
          </a:xfrm>
        </p:spPr>
        <p:txBody>
          <a:bodyPr/>
          <a:lstStyle/>
          <a:p>
            <a:r>
              <a:rPr lang="en-US"/>
              <a:t>Click to edit Master title style</a:t>
            </a:r>
          </a:p>
        </p:txBody>
      </p:sp>
      <p:cxnSp>
        <p:nvCxnSpPr>
          <p:cNvPr id="12" name="Straight Connector 11"/>
          <p:cNvCxnSpPr/>
          <p:nvPr userDrawn="1"/>
        </p:nvCxnSpPr>
        <p:spPr>
          <a:xfrm>
            <a:off x="557213" y="625761"/>
            <a:ext cx="5073967"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prstClr val="white"/>
                </a:solidFill>
                <a:cs typeface="Arial" panose="020B0604020202020204" pitchFamily="34" charset="0"/>
              </a:rPr>
              <a:pPr algn="r"/>
              <a:t>‹Nr.›</a:t>
            </a:fld>
            <a:endParaRPr lang="en-US" sz="1100">
              <a:solidFill>
                <a:prstClr val="white"/>
              </a:solidFill>
              <a:cs typeface="Arial" panose="020B0604020202020204" pitchFamily="34" charset="0"/>
            </a:endParaRPr>
          </a:p>
        </p:txBody>
      </p:sp>
      <p:pic>
        <p:nvPicPr>
          <p:cNvPr id="16" name="Bild 5" descr="Logo_EB_0018.jpg"/>
          <p:cNvPicPr>
            <a:picLocks noChangeAspect="1"/>
          </p:cNvPicPr>
          <p:nvPr userDrawn="1"/>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479965" y="367421"/>
            <a:ext cx="2133566" cy="2583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1"/>
                </a:solidFill>
                <a:prstDash val="solid"/>
                <a:round/>
                <a:headEnd type="none" w="med" len="med"/>
                <a:tailEnd type="none" w="med" len="med"/>
              </a14:hiddenLine>
            </a:ext>
          </a:extLst>
        </p:spPr>
      </p:pic>
      <p:cxnSp>
        <p:nvCxnSpPr>
          <p:cNvPr id="17" name="Straight Connector 16"/>
          <p:cNvCxnSpPr/>
          <p:nvPr userDrawn="1"/>
        </p:nvCxnSpPr>
        <p:spPr>
          <a:xfrm>
            <a:off x="5631180" y="625761"/>
            <a:ext cx="679758"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69258" y="6491654"/>
            <a:ext cx="3044272"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491654"/>
            <a:ext cx="5012045"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1396850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ArrowPanelWhite"/>
          <p:cNvSpPr/>
          <p:nvPr userDrawn="1"/>
        </p:nvSpPr>
        <p:spPr>
          <a:xfrm flipH="1" flipV="1">
            <a:off x="-3" y="0"/>
            <a:ext cx="6270496" cy="6858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gradFill>
            <a:gsLst>
              <a:gs pos="100000">
                <a:srgbClr val="0A296C"/>
              </a:gs>
              <a:gs pos="0">
                <a:srgbClr val="0A296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9" name="Copyright" hidden="1"/>
          <p:cNvSpPr txBox="1"/>
          <p:nvPr userDrawn="1"/>
        </p:nvSpPr>
        <p:spPr>
          <a:xfrm rot="16200000">
            <a:off x="644541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The Boston Consulting Group, Inc. All rights reserved.</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defPPr>
              <a:defRPr lang="en-US"/>
            </a:defPPr>
            <a:lvl1pPr>
              <a:lnSpc>
                <a:spcPct val="90000"/>
              </a:lnSpc>
              <a:spcAft>
                <a:spcPts val="600"/>
              </a:spcAft>
              <a:defRPr sz="700">
                <a:solidFill>
                  <a:schemeClr val="bg1"/>
                </a:solidFill>
                <a:latin typeface="Trebuchet MS" panose="020B0603020202020204" pitchFamily="34" charset="0"/>
              </a:defRPr>
            </a:lvl1pPr>
          </a:lstStyle>
          <a:p>
            <a:r>
              <a:rPr lang="en-US">
                <a:solidFill>
                  <a:prstClr val="white"/>
                </a:solidFill>
                <a:latin typeface="Arial" panose="020B0604020202020204"/>
                <a:sym typeface="Trebuchet MS" panose="020B0603020202020204" pitchFamily="34" charset="0"/>
              </a:rPr>
              <a:t>20200227_Slidevorlagen_v01.pptx</a:t>
            </a:r>
          </a:p>
        </p:txBody>
      </p:sp>
      <p:pic>
        <p:nvPicPr>
          <p:cNvPr id="11" name="Picture 10"/>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rot="120000">
            <a:off x="4440884" y="3405670"/>
            <a:ext cx="2565924" cy="3461745"/>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3" name="Title 2"/>
          <p:cNvSpPr>
            <a:spLocks noGrp="1"/>
          </p:cNvSpPr>
          <p:nvPr>
            <p:ph type="title"/>
          </p:nvPr>
        </p:nvSpPr>
        <p:spPr>
          <a:xfrm>
            <a:off x="557215" y="853777"/>
            <a:ext cx="4788000" cy="400110"/>
          </a:xfrm>
        </p:spPr>
        <p:txBody>
          <a:bodyPr/>
          <a:lstStyle>
            <a:lvl1pPr>
              <a:defRPr>
                <a:solidFill>
                  <a:schemeClr val="bg1"/>
                </a:solidFill>
              </a:defRPr>
            </a:lvl1pPr>
          </a:lstStyle>
          <a:p>
            <a:r>
              <a:rPr lang="en-US"/>
              <a:t>Click to edit Master title style</a:t>
            </a:r>
          </a:p>
        </p:txBody>
      </p:sp>
      <p:pic>
        <p:nvPicPr>
          <p:cNvPr id="14" name="Bild 5" descr="Logo_EB_0018.jpg"/>
          <p:cNvPicPr>
            <a:picLocks noChangeAspect="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79965" y="367421"/>
            <a:ext cx="2133566" cy="258340"/>
          </a:xfrm>
          <a:prstGeom prst="rect">
            <a:avLst/>
          </a:prstGeom>
        </p:spPr>
      </p:pic>
      <p:cxnSp>
        <p:nvCxnSpPr>
          <p:cNvPr id="16" name="Straight Connector 15"/>
          <p:cNvCxnSpPr/>
          <p:nvPr userDrawn="1"/>
        </p:nvCxnSpPr>
        <p:spPr>
          <a:xfrm>
            <a:off x="5638800" y="625761"/>
            <a:ext cx="67213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Rectangle 16"/>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18" name="Straight Connector 17"/>
          <p:cNvCxnSpPr/>
          <p:nvPr userDrawn="1"/>
        </p:nvCxnSpPr>
        <p:spPr>
          <a:xfrm>
            <a:off x="5571858" y="6491654"/>
            <a:ext cx="3041672"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557213" y="625761"/>
            <a:ext cx="5081587"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3" y="6491654"/>
            <a:ext cx="5014645"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custDataLst>
              <p:tags r:id="rId4"/>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14968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5" name="think-cell Slide" r:id="rId5" imgW="360" imgH="360" progId="">
                  <p:embed/>
                </p:oleObj>
              </mc:Choice>
              <mc:Fallback>
                <p:oleObj name="think-cell Slide" r:id="rId5" imgW="360" imgH="360" progId="">
                  <p:embed/>
                  <p:pic>
                    <p:nvPicPr>
                      <p:cNvPr id="24"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Bild 5" descr="Logo_EB_0018.jp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339193" y="367421"/>
            <a:ext cx="5274338" cy="638636"/>
          </a:xfrm>
          <a:prstGeom prst="rect">
            <a:avLst/>
          </a:prstGeom>
        </p:spPr>
      </p:pic>
      <p:cxnSp>
        <p:nvCxnSpPr>
          <p:cNvPr id="17" name="Straight Connector 16"/>
          <p:cNvCxnSpPr/>
          <p:nvPr userDrawn="1"/>
        </p:nvCxnSpPr>
        <p:spPr>
          <a:xfrm>
            <a:off x="557213" y="1006057"/>
            <a:ext cx="2447244"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557212" y="6491654"/>
            <a:ext cx="805631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custDataLst>
              <p:tags r:id="rId3"/>
            </p:custDataLst>
          </p:nvPr>
        </p:nvSpPr>
        <p:spPr>
          <a:xfrm>
            <a:off x="3889509" y="6487814"/>
            <a:ext cx="1391728" cy="26161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1300"/>
                </a:solidFill>
                <a:prstDash val="solid"/>
                <a:round/>
                <a:headEnd type="none" w="med" len="med"/>
                <a:tailEnd type="none" w="med" len="med"/>
              </a14:hiddenLine>
            </a:ext>
          </a:extLst>
        </p:spPr>
        <p:txBody>
          <a:bodyPr wrap="none" rtlCol="0">
            <a:spAutoFit/>
          </a:bodyPr>
          <a:lstStyle/>
          <a:p>
            <a:pPr algn="ctr"/>
            <a:r>
              <a:rPr lang="en-US" sz="1100">
                <a:solidFill>
                  <a:srgbClr val="C41300"/>
                </a:solidFill>
              </a:rPr>
              <a:t>- Streng vertraulich -</a:t>
            </a:r>
          </a:p>
        </p:txBody>
      </p:sp>
    </p:spTree>
    <p:extLst>
      <p:ext uri="{BB962C8B-B14F-4D97-AF65-F5344CB8AC3E}">
        <p14:creationId xmlns:p14="http://schemas.microsoft.com/office/powerpoint/2010/main" val="2916352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 Hintergrun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5931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848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 Hintergrun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11180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60640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 Hintergrund dunkel">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642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4"/>
          <p:cNvCxnSpPr/>
          <p:nvPr userDrawn="1"/>
        </p:nvCxnSpPr>
        <p:spPr>
          <a:xfrm>
            <a:off x="557213" y="625761"/>
            <a:ext cx="5753725"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 name="Rectangle 5"/>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CDDCF0"/>
                </a:solidFill>
                <a:latin typeface="+mn-lt"/>
                <a:cs typeface="Arial" panose="020B0604020202020204" pitchFamily="34" charset="0"/>
              </a:rPr>
              <a:pPr marL="0" lvl="0" indent="0" algn="r"/>
              <a:t>‹Nr.›</a:t>
            </a:fld>
            <a:endParaRPr lang="en-US" sz="1100">
              <a:solidFill>
                <a:srgbClr val="CDDCF0"/>
              </a:solidFill>
              <a:latin typeface="+mn-lt"/>
              <a:cs typeface="Arial" panose="020B0604020202020204" pitchFamily="34" charset="0"/>
            </a:endParaRPr>
          </a:p>
        </p:txBody>
      </p:sp>
      <p:cxnSp>
        <p:nvCxnSpPr>
          <p:cNvPr id="7" name="Straight Connector 6"/>
          <p:cNvCxnSpPr/>
          <p:nvPr userDrawn="1"/>
        </p:nvCxnSpPr>
        <p:spPr>
          <a:xfrm>
            <a:off x="557212" y="6491654"/>
            <a:ext cx="8056318"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 name="Grafik 1">
            <a:extLst>
              <a:ext uri="{FF2B5EF4-FFF2-40B4-BE49-F238E27FC236}">
                <a16:creationId xmlns:a16="http://schemas.microsoft.com/office/drawing/2014/main" xmlns="" id="{936F9A26-3942-8227-A1DA-BA32D56C044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3152829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00877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PanelGray"/>
          <p:cNvSpPr/>
          <p:nvPr userDrawn="1"/>
        </p:nvSpPr>
        <p:spPr bwMode="white">
          <a:xfrm>
            <a:off x="1" y="-1309"/>
            <a:ext cx="3551413"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557214" y="2158990"/>
            <a:ext cx="2718909"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7214" y="1227051"/>
            <a:ext cx="2718909" cy="664797"/>
          </a:xfrm>
        </p:spPr>
        <p:txBody>
          <a:bodyPr anchor="t">
            <a:noAutofit/>
          </a:bodyPr>
          <a:lstStyle>
            <a:lvl1pPr>
              <a:defRPr sz="20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752506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227_Slidevorlagen_v01.pptx</a:t>
            </a:r>
          </a:p>
        </p:txBody>
      </p:sp>
      <p:cxnSp>
        <p:nvCxnSpPr>
          <p:cNvPr id="14" name="Straight Connector 13"/>
          <p:cNvCxnSpPr/>
          <p:nvPr userDrawn="1"/>
        </p:nvCxnSpPr>
        <p:spPr>
          <a:xfrm>
            <a:off x="557213" y="625761"/>
            <a:ext cx="5753725"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16" name="Straight Connector 15"/>
          <p:cNvCxnSpPr/>
          <p:nvPr userDrawn="1"/>
        </p:nvCxnSpPr>
        <p:spPr>
          <a:xfrm>
            <a:off x="557212" y="6491654"/>
            <a:ext cx="8056318" cy="0"/>
          </a:xfrm>
          <a:prstGeom prst="line">
            <a:avLst/>
          </a:prstGeom>
          <a:ln w="6350" cap="flat" cmpd="sng" algn="ctr">
            <a:solidFill>
              <a:srgbClr val="C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Grafik 2">
            <a:extLst>
              <a:ext uri="{FF2B5EF4-FFF2-40B4-BE49-F238E27FC236}">
                <a16:creationId xmlns:a16="http://schemas.microsoft.com/office/drawing/2014/main" xmlns="" id="{A552DEEE-C8E7-122C-2C2A-993EAED6CB3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307809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5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2.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vmlDrawing" Target="../drawings/vmlDrawing27.v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heme" Target="../theme/theme2.xml"/><Relationship Id="rId30" Type="http://schemas.openxmlformats.org/officeDocument/2006/relationships/oleObject" Target="../embeddings/oleObject2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31"/>
            </p:custDataLst>
            <p:extLst>
              <p:ext uri="{D42A27DB-BD31-4B8C-83A1-F6EECF244321}">
                <p14:modId xmlns:p14="http://schemas.microsoft.com/office/powerpoint/2010/main" val="1844926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32" imgW="360" imgH="360" progId="">
                  <p:embed/>
                </p:oleObj>
              </mc:Choice>
              <mc:Fallback>
                <p:oleObj name="think-cell Slide" r:id="rId32" imgW="360" imgH="360" progId="">
                  <p:embed/>
                  <p:pic>
                    <p:nvPicPr>
                      <p:cNvPr id="24" name="Object 23"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57214" y="853777"/>
            <a:ext cx="8056317" cy="400110"/>
          </a:xfrm>
          <a:prstGeom prst="rect">
            <a:avLst/>
          </a:prstGeom>
          <a:noFill/>
        </p:spPr>
        <p:txBody>
          <a:bodyPr wrap="square" lIns="0" rIns="0" rtlCol="0">
            <a:spAutoFit/>
          </a:bodyPr>
          <a:lstStyle/>
          <a:p>
            <a:pPr marL="0" lvl="0" indent="0" algn="l"/>
            <a:r>
              <a:rPr lang="en-US"/>
              <a:t>Click to edit Master title style</a:t>
            </a:r>
          </a:p>
        </p:txBody>
      </p:sp>
      <p:sp>
        <p:nvSpPr>
          <p:cNvPr id="3" name="Text Placeholder 2"/>
          <p:cNvSpPr>
            <a:spLocks noGrp="1"/>
          </p:cNvSpPr>
          <p:nvPr>
            <p:ph type="body" idx="1"/>
          </p:nvPr>
        </p:nvSpPr>
        <p:spPr>
          <a:xfrm>
            <a:off x="557214" y="1760025"/>
            <a:ext cx="8056317"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p:cNvCxnSpPr/>
          <p:nvPr userDrawn="1"/>
        </p:nvCxnSpPr>
        <p:spPr>
          <a:xfrm>
            <a:off x="557213" y="625761"/>
            <a:ext cx="5753725"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Rectangle 28"/>
          <p:cNvSpPr/>
          <p:nvPr userDrawn="1"/>
        </p:nvSpPr>
        <p:spPr>
          <a:xfrm>
            <a:off x="7822482" y="6490066"/>
            <a:ext cx="863609" cy="365125"/>
          </a:xfrm>
          <a:prstGeom prst="rect">
            <a:avLst/>
          </a:prstGeom>
        </p:spPr>
        <p:txBody>
          <a:bodyPr anchor="t" anchorCtr="0"/>
          <a:lstStyle/>
          <a:p>
            <a:pPr marL="0" lvl="0" indent="0" algn="r"/>
            <a:fld id="{38C1D48E-BD8D-43E4-9CEA-C66CA2FB7072}" type="slidenum">
              <a:rPr lang="en-US" sz="1100" smtClean="0">
                <a:solidFill>
                  <a:srgbClr val="0A296C"/>
                </a:solidFill>
                <a:latin typeface="+mn-lt"/>
                <a:cs typeface="Arial" panose="020B0604020202020204" pitchFamily="34" charset="0"/>
              </a:rPr>
              <a:pPr marL="0" lvl="0" indent="0" algn="r"/>
              <a:t>‹Nr.›</a:t>
            </a:fld>
            <a:endParaRPr lang="en-US" sz="1100">
              <a:solidFill>
                <a:srgbClr val="0A296C"/>
              </a:solidFill>
              <a:latin typeface="+mn-lt"/>
              <a:cs typeface="Arial" panose="020B0604020202020204" pitchFamily="34" charset="0"/>
            </a:endParaRPr>
          </a:p>
        </p:txBody>
      </p:sp>
      <p:cxnSp>
        <p:nvCxnSpPr>
          <p:cNvPr id="31" name="Straight Connector 30"/>
          <p:cNvCxnSpPr/>
          <p:nvPr userDrawn="1"/>
        </p:nvCxnSpPr>
        <p:spPr>
          <a:xfrm>
            <a:off x="557212" y="6491654"/>
            <a:ext cx="8056318" cy="0"/>
          </a:xfrm>
          <a:prstGeom prst="line">
            <a:avLst/>
          </a:prstGeom>
          <a:ln w="6350" cap="flat" cmpd="sng" algn="ctr">
            <a:solidFill>
              <a:srgbClr val="A38A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 name="Grafik 3">
            <a:extLst>
              <a:ext uri="{FF2B5EF4-FFF2-40B4-BE49-F238E27FC236}">
                <a16:creationId xmlns:a16="http://schemas.microsoft.com/office/drawing/2014/main" xmlns="" id="{0AC396A3-ABCC-B6F2-F98A-6B978FF2FE4F}"/>
              </a:ext>
            </a:extLst>
          </p:cNvPr>
          <p:cNvPicPr>
            <a:picLocks noChangeAspect="1"/>
          </p:cNvPicPr>
          <p:nvPr userDrawn="1"/>
        </p:nvPicPr>
        <p:blipFill>
          <a:blip r:embed="rId34">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5" r:id="rId5"/>
    <p:sldLayoutId id="2147483656" r:id="rId6"/>
    <p:sldLayoutId id="2147483657" r:id="rId7"/>
    <p:sldLayoutId id="2147483658"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54" r:id="rId25"/>
    <p:sldLayoutId id="2147483704" r:id="rId26"/>
    <p:sldLayoutId id="2147483705" r:id="rId27"/>
    <p:sldLayoutId id="2147483706" r:id="rId28"/>
  </p:sldLayoutIdLst>
  <p:hf sldNum="0" hdr="0"/>
  <p:txStyles>
    <p:titleStyle>
      <a:lvl1pPr marL="0" indent="0" algn="l" defTabSz="457200" rtl="0" eaLnBrk="1" latinLnBrk="0" hangingPunct="1">
        <a:spcBef>
          <a:spcPts val="0"/>
        </a:spcBef>
        <a:buNone/>
        <a:defRPr lang="en-US" sz="2000" b="1" i="0" kern="1200">
          <a:ln>
            <a:noFill/>
          </a:ln>
          <a:solidFill>
            <a:srgbClr val="0A296C"/>
          </a:solidFill>
          <a:latin typeface="+mj-lt"/>
          <a:ea typeface="+mn-ea"/>
          <a:cs typeface="+mj-cs"/>
        </a:defRPr>
      </a:lvl1pPr>
    </p:titleStyle>
    <p:bodyStyle>
      <a:lvl1pPr marL="0" indent="0" algn="l" defTabSz="457200" rtl="0" eaLnBrk="1" latinLnBrk="0" hangingPunct="1">
        <a:spcBef>
          <a:spcPct val="20000"/>
        </a:spcBef>
        <a:buFontTx/>
        <a:buNone/>
        <a:defRPr sz="1600" b="1" kern="1200">
          <a:solidFill>
            <a:srgbClr val="0A296C"/>
          </a:solidFill>
          <a:latin typeface="+mn-lt"/>
          <a:ea typeface="+mn-ea"/>
          <a:cs typeface="+mn-cs"/>
        </a:defRPr>
      </a:lvl1pPr>
      <a:lvl2pPr marL="36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2pPr>
      <a:lvl3pPr marL="72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3pPr>
      <a:lvl4pPr marL="108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4pPr>
      <a:lvl5pPr marL="144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30" imgW="360" imgH="360" progId="">
                  <p:embed/>
                </p:oleObj>
              </mc:Choice>
              <mc:Fallback>
                <p:oleObj name="think-cell Slide" r:id="rId30" imgW="360" imgH="360" progId="">
                  <p:embed/>
                  <p:pic>
                    <p:nvPicPr>
                      <p:cNvPr id="24" name="Object 23"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57214" y="853777"/>
            <a:ext cx="8056317" cy="400110"/>
          </a:xfrm>
          <a:prstGeom prst="rect">
            <a:avLst/>
          </a:prstGeom>
          <a:noFill/>
        </p:spPr>
        <p:txBody>
          <a:bodyPr wrap="square" lIns="0" rIns="0" rtlCol="0">
            <a:spAutoFit/>
          </a:bodyPr>
          <a:lstStyle/>
          <a:p>
            <a:pPr marL="0" lvl="0" indent="0" algn="l"/>
            <a:r>
              <a:rPr lang="en-US"/>
              <a:t>Click to edit Master title style</a:t>
            </a:r>
          </a:p>
        </p:txBody>
      </p:sp>
      <p:sp>
        <p:nvSpPr>
          <p:cNvPr id="3" name="Text Placeholder 2"/>
          <p:cNvSpPr>
            <a:spLocks noGrp="1"/>
          </p:cNvSpPr>
          <p:nvPr>
            <p:ph type="body" idx="1"/>
          </p:nvPr>
        </p:nvSpPr>
        <p:spPr>
          <a:xfrm>
            <a:off x="557214" y="1760025"/>
            <a:ext cx="8056317"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p:cNvCxnSpPr/>
          <p:nvPr userDrawn="1"/>
        </p:nvCxnSpPr>
        <p:spPr>
          <a:xfrm>
            <a:off x="557213" y="625761"/>
            <a:ext cx="5753725"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Rectangle 28"/>
          <p:cNvSpPr/>
          <p:nvPr userDrawn="1"/>
        </p:nvSpPr>
        <p:spPr>
          <a:xfrm>
            <a:off x="7822482" y="6490066"/>
            <a:ext cx="863609" cy="365125"/>
          </a:xfrm>
          <a:prstGeom prst="rect">
            <a:avLst/>
          </a:prstGeom>
        </p:spPr>
        <p:txBody>
          <a:bodyPr anchor="t" anchorCtr="0"/>
          <a:lstStyle/>
          <a:p>
            <a:pPr algn="r"/>
            <a:fld id="{38C1D48E-BD8D-43E4-9CEA-C66CA2FB7072}" type="slidenum">
              <a:rPr lang="en-US" sz="1100" smtClean="0">
                <a:solidFill>
                  <a:srgbClr val="0A296C"/>
                </a:solidFill>
                <a:cs typeface="Arial" panose="020B0604020202020204" pitchFamily="34" charset="0"/>
              </a:rPr>
              <a:pPr algn="r"/>
              <a:t>‹Nr.›</a:t>
            </a:fld>
            <a:endParaRPr lang="en-US" sz="1100">
              <a:solidFill>
                <a:srgbClr val="0A296C"/>
              </a:solidFill>
              <a:cs typeface="Arial" panose="020B0604020202020204" pitchFamily="34" charset="0"/>
            </a:endParaRPr>
          </a:p>
        </p:txBody>
      </p:sp>
      <p:cxnSp>
        <p:nvCxnSpPr>
          <p:cNvPr id="31" name="Straight Connector 30"/>
          <p:cNvCxnSpPr/>
          <p:nvPr userDrawn="1"/>
        </p:nvCxnSpPr>
        <p:spPr>
          <a:xfrm>
            <a:off x="557212" y="6491654"/>
            <a:ext cx="8056318" cy="0"/>
          </a:xfrm>
          <a:prstGeom prst="line">
            <a:avLst/>
          </a:prstGeom>
          <a:ln w="6350" cap="flat" cmpd="sng" algn="ctr">
            <a:solidFill>
              <a:srgbClr val="C41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 name="Grafik 3">
            <a:extLst>
              <a:ext uri="{FF2B5EF4-FFF2-40B4-BE49-F238E27FC236}">
                <a16:creationId xmlns:a16="http://schemas.microsoft.com/office/drawing/2014/main" xmlns="" id="{447EFBE2-7DCE-32B4-79BE-C6D0AB844D9E}"/>
              </a:ext>
            </a:extLst>
          </p:cNvPr>
          <p:cNvPicPr>
            <a:picLocks noChangeAspect="1"/>
          </p:cNvPicPr>
          <p:nvPr userDrawn="1"/>
        </p:nvPicPr>
        <p:blipFill>
          <a:blip r:embed="rId32">
            <a:extLst>
              <a:ext uri="{28A0092B-C50C-407E-A947-70E740481C1C}">
                <a14:useLocalDpi xmlns:a14="http://schemas.microsoft.com/office/drawing/2010/main" val="0"/>
              </a:ext>
            </a:extLst>
          </a:blip>
          <a:srcRect/>
          <a:stretch>
            <a:fillRect/>
          </a:stretch>
        </p:blipFill>
        <p:spPr bwMode="auto">
          <a:xfrm>
            <a:off x="7800459" y="440668"/>
            <a:ext cx="813071" cy="683471"/>
          </a:xfrm>
          <a:prstGeom prst="rect">
            <a:avLst/>
          </a:prstGeom>
          <a:noFill/>
          <a:ln>
            <a:noFill/>
          </a:ln>
        </p:spPr>
      </p:pic>
    </p:spTree>
    <p:extLst>
      <p:ext uri="{BB962C8B-B14F-4D97-AF65-F5344CB8AC3E}">
        <p14:creationId xmlns:p14="http://schemas.microsoft.com/office/powerpoint/2010/main" val="364812540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Lst>
  <p:hf sldNum="0" hdr="0"/>
  <p:txStyles>
    <p:titleStyle>
      <a:lvl1pPr marL="0" indent="0" algn="l" defTabSz="457200" rtl="0" eaLnBrk="1" latinLnBrk="0" hangingPunct="1">
        <a:spcBef>
          <a:spcPts val="0"/>
        </a:spcBef>
        <a:buNone/>
        <a:defRPr lang="en-US" sz="2000" b="1" i="0" kern="1200">
          <a:ln>
            <a:noFill/>
          </a:ln>
          <a:solidFill>
            <a:srgbClr val="0A296C"/>
          </a:solidFill>
          <a:latin typeface="+mj-lt"/>
          <a:ea typeface="+mn-ea"/>
          <a:cs typeface="+mj-cs"/>
        </a:defRPr>
      </a:lvl1pPr>
    </p:titleStyle>
    <p:bodyStyle>
      <a:lvl1pPr marL="0" indent="0" algn="l" defTabSz="457200" rtl="0" eaLnBrk="1" latinLnBrk="0" hangingPunct="1">
        <a:spcBef>
          <a:spcPct val="20000"/>
        </a:spcBef>
        <a:buFontTx/>
        <a:buNone/>
        <a:defRPr sz="1600" b="1" kern="1200">
          <a:solidFill>
            <a:srgbClr val="0A296C"/>
          </a:solidFill>
          <a:latin typeface="+mn-lt"/>
          <a:ea typeface="+mn-ea"/>
          <a:cs typeface="+mn-cs"/>
        </a:defRPr>
      </a:lvl1pPr>
      <a:lvl2pPr marL="36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2pPr>
      <a:lvl3pPr marL="72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3pPr>
      <a:lvl4pPr marL="108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4pPr>
      <a:lvl5pPr marL="1440000" indent="-180000" algn="l" defTabSz="457200" rtl="0" eaLnBrk="1" latinLnBrk="0" hangingPunct="1">
        <a:spcBef>
          <a:spcPct val="20000"/>
        </a:spcBef>
        <a:buClr>
          <a:srgbClr val="0A296C"/>
        </a:buClr>
        <a:buFont typeface="Trebuchet MS" panose="020B0603020202020204" pitchFamily="34" charset="0"/>
        <a:buChar char="–"/>
        <a:defRPr sz="1600" kern="1200">
          <a:solidFill>
            <a:srgbClr val="0A296C"/>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 Id="rId4" Type="http://schemas.openxmlformats.org/officeDocument/2006/relationships/hyperlink" Target="https://us06web.zoom.us/j/89814044063?pwd=cGdYcEpUelBES09GRXVZR05vb0VBZz09"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9.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5.xml"/></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7.xml"/><Relationship Id="rId4" Type="http://schemas.openxmlformats.org/officeDocument/2006/relationships/image" Target="../media/image11.jpeg"/></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7.xml"/><Relationship Id="rId4" Type="http://schemas.openxmlformats.org/officeDocument/2006/relationships/image" Target="../media/image11.jpe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27.xml"/><Relationship Id="rId5" Type="http://schemas.openxmlformats.org/officeDocument/2006/relationships/image" Target="../media/image11.jpeg"/><Relationship Id="rId4" Type="http://schemas.openxmlformats.org/officeDocument/2006/relationships/image" Target="../media/image13.jpeg"/></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Layout" Target="../slideLayouts/slideLayout27.xml"/><Relationship Id="rId5" Type="http://schemas.openxmlformats.org/officeDocument/2006/relationships/image" Target="../media/image11.jpeg"/><Relationship Id="rId4" Type="http://schemas.openxmlformats.org/officeDocument/2006/relationships/image" Target="../media/image13.jpeg"/></Relationships>
</file>

<file path=ppt/slides/_rels/slide2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7.xml"/><Relationship Id="rId4" Type="http://schemas.openxmlformats.org/officeDocument/2006/relationships/image" Target="../media/image11.jpeg"/></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7.xml"/><Relationship Id="rId4" Type="http://schemas.openxmlformats.org/officeDocument/2006/relationships/image" Target="../media/image11.jpeg"/></Relationships>
</file>

<file path=ppt/slides/_rels/slide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7.xml"/><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3.jpeg"/><Relationship Id="rId1" Type="http://schemas.openxmlformats.org/officeDocument/2006/relationships/slideLayout" Target="../slideLayouts/slideLayout27.xml"/><Relationship Id="rId5" Type="http://schemas.openxmlformats.org/officeDocument/2006/relationships/image" Target="../media/image12.png"/><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3.jpeg"/><Relationship Id="rId1" Type="http://schemas.openxmlformats.org/officeDocument/2006/relationships/slideLayout" Target="../slideLayouts/slideLayout27.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8.xml"/></Relationships>
</file>

<file path=ppt/slides/_rels/slide3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slideLayout" Target="../slideLayouts/slideLayout4.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7.pn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10" Type="http://schemas.openxmlformats.org/officeDocument/2006/relationships/image" Target="../media/image23.png"/><Relationship Id="rId19" Type="http://schemas.openxmlformats.org/officeDocument/2006/relationships/image" Target="../media/image32.png"/><Relationship Id="rId31" Type="http://schemas.openxmlformats.org/officeDocument/2006/relationships/image" Target="../media/image44.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hyperlink" Target="mailto:raete@bistum-trier.de" TargetMode="External"/><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mailto:raete@bistum-trier.de" TargetMode="External"/><Relationship Id="rId2" Type="http://schemas.openxmlformats.org/officeDocument/2006/relationships/tags" Target="../tags/tag122.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 Id="rId4" Type="http://schemas.openxmlformats.org/officeDocument/2006/relationships/hyperlink" Target="https://us06web.zoom.us/j/89814044063?pwd=cGdYcEpUelBES09GRXVZR05vb0VBZz09"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20137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9"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683567" y="1807779"/>
            <a:ext cx="7916591" cy="4154984"/>
          </a:xfrm>
        </p:spPr>
        <p:txBody>
          <a:bodyPr/>
          <a:lstStyle/>
          <a:p>
            <a:r>
              <a:rPr lang="de-DE" b="0" dirty="0"/>
              <a:t>Informationen zur Rätearbeit</a:t>
            </a:r>
            <a:br>
              <a:rPr lang="de-DE" b="0" dirty="0"/>
            </a:br>
            <a:r>
              <a:rPr lang="de-DE" b="0" dirty="0"/>
              <a:t>in den Fusionspfarreien</a:t>
            </a:r>
            <a:br>
              <a:rPr lang="de-DE" b="0" dirty="0"/>
            </a:br>
            <a:r>
              <a:rPr lang="de-DE" sz="2400" b="0" dirty="0"/>
              <a:t/>
            </a:r>
            <a:br>
              <a:rPr lang="de-DE" sz="2400" b="0" dirty="0"/>
            </a:br>
            <a:r>
              <a:rPr lang="de-DE" b="0" dirty="0"/>
              <a:t/>
            </a:r>
            <a:br>
              <a:rPr lang="de-DE" b="0" dirty="0"/>
            </a:br>
            <a:r>
              <a:rPr lang="de-DE" b="0" dirty="0"/>
              <a:t/>
            </a:r>
            <a:br>
              <a:rPr lang="de-DE" b="0" dirty="0"/>
            </a:br>
            <a:r>
              <a:rPr lang="de-DE" b="0" dirty="0"/>
              <a:t/>
            </a:r>
            <a:br>
              <a:rPr lang="de-DE" b="0" dirty="0"/>
            </a:br>
            <a:endParaRPr lang="de-DE" sz="3200" dirty="0"/>
          </a:p>
        </p:txBody>
      </p:sp>
      <p:sp>
        <p:nvSpPr>
          <p:cNvPr id="7" name="Text Placeholder 6"/>
          <p:cNvSpPr>
            <a:spLocks noGrp="1"/>
          </p:cNvSpPr>
          <p:nvPr>
            <p:ph type="body" sz="quarter" idx="10"/>
          </p:nvPr>
        </p:nvSpPr>
        <p:spPr>
          <a:xfrm>
            <a:off x="543841" y="5050221"/>
            <a:ext cx="8056317" cy="369332"/>
          </a:xfrm>
        </p:spPr>
        <p:txBody>
          <a:bodyPr/>
          <a:lstStyle/>
          <a:p>
            <a:endParaRPr lang="de-DE" sz="2400" b="0"/>
          </a:p>
        </p:txBody>
      </p:sp>
    </p:spTree>
    <p:extLst>
      <p:ext uri="{BB962C8B-B14F-4D97-AF65-F5344CB8AC3E}">
        <p14:creationId xmlns:p14="http://schemas.microsoft.com/office/powerpoint/2010/main" val="2161906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4462760"/>
          </a:xfrm>
          <a:prstGeom prst="rect">
            <a:avLst/>
          </a:prstGeom>
          <a:noFill/>
        </p:spPr>
        <p:txBody>
          <a:bodyPr wrap="square" rtlCol="0">
            <a:spAutoFit/>
          </a:bodyPr>
          <a:lstStyle/>
          <a:p>
            <a:pPr marL="285750" indent="-285750">
              <a:buFont typeface="Wingdings" panose="05000000000000000000" pitchFamily="2" charset="2"/>
              <a:buChar char="§"/>
            </a:pPr>
            <a:r>
              <a:rPr lang="de-DE" dirty="0">
                <a:solidFill>
                  <a:srgbClr val="0A296C"/>
                </a:solidFill>
              </a:rPr>
              <a:t>Es kann sinnvoll sein, dass der Vorstand eine eigene „kleine Klausur“ veranstaltet, um sich über seine zukünftigen Aufgaben und Arbeitsformen zu verständigen (gerne mit fachlicher Unterstützung).</a:t>
            </a:r>
          </a:p>
          <a:p>
            <a:pPr marL="285750"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sinnvoll sein, den Vorstand zu vergrößern (um bis zu 2 Beisitzer*innen).</a:t>
            </a:r>
          </a:p>
          <a:p>
            <a:pPr marL="285750"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sinnvoll sein, im Vorstand Aufgaben und Zuständigkeiten klar zu benennen, zu klären und zu verteilen.</a:t>
            </a:r>
          </a:p>
          <a:p>
            <a:pPr marL="285750"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dann sinnvoll sein, die ganze Pfarrei zu einer Pfarrversammlung einzuladen („kleiner Katholikentag“, „kleine Synodalversammlung“)</a:t>
            </a:r>
          </a:p>
          <a:p>
            <a:pPr marL="285750"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endParaRPr lang="de-DE" dirty="0">
              <a:solidFill>
                <a:srgbClr val="0A296C"/>
              </a:solidFill>
            </a:endParaRPr>
          </a:p>
          <a:p>
            <a:pPr marL="342900" indent="-342900">
              <a:buAutoNum type="arabicPeriod" startAt="4"/>
            </a:pPr>
            <a:endParaRPr lang="de-DE" sz="1400" dirty="0">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r>
              <a:rPr lang="de-DE" sz="2000" dirty="0">
                <a:solidFill>
                  <a:srgbClr val="0A296C"/>
                </a:solidFill>
              </a:rPr>
              <a:t>Konsequenzen für die Arbeit des neuen Pfarrgemeinderates</a:t>
            </a:r>
          </a:p>
        </p:txBody>
      </p:sp>
    </p:spTree>
    <p:extLst>
      <p:ext uri="{BB962C8B-B14F-4D97-AF65-F5344CB8AC3E}">
        <p14:creationId xmlns:p14="http://schemas.microsoft.com/office/powerpoint/2010/main" val="1137718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1138773"/>
          </a:xfrm>
          <a:prstGeom prst="rect">
            <a:avLst/>
          </a:prstGeom>
          <a:noFill/>
        </p:spPr>
        <p:txBody>
          <a:bodyPr wrap="square" rtlCol="0">
            <a:spAutoFit/>
          </a:bodyPr>
          <a:lstStyle/>
          <a:p>
            <a:pPr marL="285750" indent="-285750">
              <a:buFont typeface="Wingdings" panose="05000000000000000000" pitchFamily="2" charset="2"/>
              <a:buChar char="§"/>
            </a:pPr>
            <a:r>
              <a:rPr lang="de-DE" dirty="0">
                <a:solidFill>
                  <a:srgbClr val="0A296C"/>
                </a:solidFill>
              </a:rPr>
              <a:t>Es kann sinnvoll sein, über die Informations- und Kommunikationsstrukturen neu nachzudenken (Newsletter?</a:t>
            </a:r>
          </a:p>
          <a:p>
            <a:pPr marL="285750" indent="-285750">
              <a:buFont typeface="Wingdings" panose="05000000000000000000" pitchFamily="2" charset="2"/>
              <a:buChar char="§"/>
            </a:pPr>
            <a:endParaRPr lang="de-DE" dirty="0">
              <a:solidFill>
                <a:srgbClr val="0A296C"/>
              </a:solidFill>
            </a:endParaRPr>
          </a:p>
          <a:p>
            <a:pPr marL="342900" indent="-342900">
              <a:buAutoNum type="arabicPeriod" startAt="4"/>
            </a:pPr>
            <a:endParaRPr lang="de-DE" sz="1400" dirty="0">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r>
              <a:rPr lang="de-DE" sz="2000" dirty="0">
                <a:solidFill>
                  <a:srgbClr val="0A296C"/>
                </a:solidFill>
              </a:rPr>
              <a:t>Konsequenzen für die Arbeit des neuen Pfarrgemeinderates</a:t>
            </a:r>
          </a:p>
        </p:txBody>
      </p:sp>
    </p:spTree>
    <p:extLst>
      <p:ext uri="{BB962C8B-B14F-4D97-AF65-F5344CB8AC3E}">
        <p14:creationId xmlns:p14="http://schemas.microsoft.com/office/powerpoint/2010/main" val="2555795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58371" name="think-cell Slide" r:id="rId5" imgW="328" imgH="328" progId="TCLayout.ActiveDocument.1">
                  <p:embed/>
                </p:oleObj>
              </mc:Choice>
              <mc:Fallback>
                <p:oleObj name="think-cell Slide" r:id="rId5" imgW="328" imgH="328" progId="TCLayout.ActiveDocument.1">
                  <p:embed/>
                  <p:pic>
                    <p:nvPicPr>
                      <p:cNvPr id="27" name="Object 26" hidden="1"/>
                      <p:cNvPicPr/>
                      <p:nvPr/>
                    </p:nvPicPr>
                    <p:blipFill>
                      <a:blip r:embed="rId6"/>
                      <a:stretch>
                        <a:fillRect/>
                      </a:stretch>
                    </p:blipFill>
                    <p:spPr>
                      <a:xfrm>
                        <a:off x="1144192" y="858442"/>
                        <a:ext cx="1190" cy="1190"/>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xmlns="" id="{0D18AC16-04D3-9A6B-079C-FEBD7869582C}"/>
              </a:ext>
            </a:extLst>
          </p:cNvPr>
          <p:cNvSpPr txBox="1"/>
          <p:nvPr/>
        </p:nvSpPr>
        <p:spPr>
          <a:xfrm>
            <a:off x="778136" y="1052736"/>
            <a:ext cx="7956884" cy="3785652"/>
          </a:xfrm>
          <a:prstGeom prst="rect">
            <a:avLst/>
          </a:prstGeom>
          <a:noFill/>
        </p:spPr>
        <p:txBody>
          <a:bodyPr wrap="square" rtlCol="0">
            <a:spAutoFit/>
          </a:bodyPr>
          <a:lstStyle/>
          <a:p>
            <a:pPr algn="ctr"/>
            <a:r>
              <a:rPr lang="de-DE" sz="2400">
                <a:solidFill>
                  <a:schemeClr val="tx2"/>
                </a:solidFill>
              </a:rPr>
              <a:t>Organe und Gremien in der Fusionspfarrei</a:t>
            </a:r>
          </a:p>
          <a:p>
            <a:endParaRPr lang="de-DE" sz="2400">
              <a:solidFill>
                <a:schemeClr val="tx2"/>
              </a:solidFill>
            </a:endParaRPr>
          </a:p>
          <a:p>
            <a:endParaRPr lang="de-DE" sz="2400">
              <a:solidFill>
                <a:schemeClr val="tx2"/>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p:txBody>
      </p:sp>
      <p:grpSp>
        <p:nvGrpSpPr>
          <p:cNvPr id="10" name="Gruppieren 9">
            <a:extLst>
              <a:ext uri="{FF2B5EF4-FFF2-40B4-BE49-F238E27FC236}">
                <a16:creationId xmlns:a16="http://schemas.microsoft.com/office/drawing/2014/main" xmlns="" id="{9C146C6F-7922-804A-1B48-4FC337069494}"/>
              </a:ext>
            </a:extLst>
          </p:cNvPr>
          <p:cNvGrpSpPr/>
          <p:nvPr/>
        </p:nvGrpSpPr>
        <p:grpSpPr>
          <a:xfrm>
            <a:off x="647564" y="1736725"/>
            <a:ext cx="8246067" cy="3118227"/>
            <a:chOff x="647564" y="2348880"/>
            <a:chExt cx="8246067" cy="3118227"/>
          </a:xfrm>
        </p:grpSpPr>
        <p:sp>
          <p:nvSpPr>
            <p:cNvPr id="3" name="Rechteck: abgerundete Ecken 2">
              <a:extLst>
                <a:ext uri="{FF2B5EF4-FFF2-40B4-BE49-F238E27FC236}">
                  <a16:creationId xmlns:a16="http://schemas.microsoft.com/office/drawing/2014/main" xmlns="" id="{4E234C8E-5F61-B671-BA25-92638E414E3F}"/>
                </a:ext>
              </a:extLst>
            </p:cNvPr>
            <p:cNvSpPr/>
            <p:nvPr/>
          </p:nvSpPr>
          <p:spPr>
            <a:xfrm>
              <a:off x="647564" y="2348880"/>
              <a:ext cx="3924436" cy="1080120"/>
            </a:xfrm>
            <a:prstGeom prst="round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400">
                  <a:solidFill>
                    <a:srgbClr val="0A296C"/>
                  </a:solidFill>
                </a:rPr>
                <a:t>Pfarrgemeinderat</a:t>
              </a:r>
            </a:p>
          </p:txBody>
        </p:sp>
        <p:sp>
          <p:nvSpPr>
            <p:cNvPr id="5" name="Rechteck: abgerundete Ecken 4">
              <a:extLst>
                <a:ext uri="{FF2B5EF4-FFF2-40B4-BE49-F238E27FC236}">
                  <a16:creationId xmlns:a16="http://schemas.microsoft.com/office/drawing/2014/main" xmlns="" id="{74E038A3-4884-7B67-4BEB-DB718A9D9477}"/>
                </a:ext>
              </a:extLst>
            </p:cNvPr>
            <p:cNvSpPr/>
            <p:nvPr/>
          </p:nvSpPr>
          <p:spPr>
            <a:xfrm>
              <a:off x="4969195" y="2348880"/>
              <a:ext cx="3924436" cy="1080120"/>
            </a:xfrm>
            <a:prstGeom prst="round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400">
                  <a:solidFill>
                    <a:srgbClr val="0A296C"/>
                  </a:solidFill>
                </a:rPr>
                <a:t>Verwaltungsrat</a:t>
              </a:r>
            </a:p>
          </p:txBody>
        </p:sp>
        <p:sp>
          <p:nvSpPr>
            <p:cNvPr id="6" name="Rechteck 5">
              <a:extLst>
                <a:ext uri="{FF2B5EF4-FFF2-40B4-BE49-F238E27FC236}">
                  <a16:creationId xmlns:a16="http://schemas.microsoft.com/office/drawing/2014/main" xmlns="" id="{DF590E91-3AE4-F33C-D031-3A19D3636085}"/>
                </a:ext>
              </a:extLst>
            </p:cNvPr>
            <p:cNvSpPr/>
            <p:nvPr/>
          </p:nvSpPr>
          <p:spPr>
            <a:xfrm>
              <a:off x="1403648" y="4422991"/>
              <a:ext cx="2628292" cy="1044116"/>
            </a:xfrm>
            <a:prstGeom prst="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200">
                  <a:solidFill>
                    <a:srgbClr val="0A296C"/>
                  </a:solidFill>
                </a:rPr>
                <a:t>Lokale Teams</a:t>
              </a:r>
            </a:p>
          </p:txBody>
        </p:sp>
        <p:sp>
          <p:nvSpPr>
            <p:cNvPr id="7" name="Rechteck 6">
              <a:extLst>
                <a:ext uri="{FF2B5EF4-FFF2-40B4-BE49-F238E27FC236}">
                  <a16:creationId xmlns:a16="http://schemas.microsoft.com/office/drawing/2014/main" xmlns="" id="{2D578AFE-F724-4C41-C929-7D7E947944F9}"/>
                </a:ext>
              </a:extLst>
            </p:cNvPr>
            <p:cNvSpPr/>
            <p:nvPr/>
          </p:nvSpPr>
          <p:spPr>
            <a:xfrm>
              <a:off x="5718902" y="4422991"/>
              <a:ext cx="2628292" cy="1044116"/>
            </a:xfrm>
            <a:prstGeom prst="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200">
                  <a:solidFill>
                    <a:srgbClr val="0A296C"/>
                  </a:solidFill>
                </a:rPr>
                <a:t>Verwaltungsteams</a:t>
              </a:r>
            </a:p>
          </p:txBody>
        </p:sp>
        <p:sp>
          <p:nvSpPr>
            <p:cNvPr id="8" name="Pfeil: nach unten 7">
              <a:extLst>
                <a:ext uri="{FF2B5EF4-FFF2-40B4-BE49-F238E27FC236}">
                  <a16:creationId xmlns:a16="http://schemas.microsoft.com/office/drawing/2014/main" xmlns="" id="{6CA5692E-88B6-57AA-9FF6-D2DB6B1AC1B9}"/>
                </a:ext>
              </a:extLst>
            </p:cNvPr>
            <p:cNvSpPr/>
            <p:nvPr/>
          </p:nvSpPr>
          <p:spPr>
            <a:xfrm>
              <a:off x="2303748" y="3645024"/>
              <a:ext cx="396044" cy="540060"/>
            </a:xfrm>
            <a:prstGeom prst="downArrow">
              <a:avLst/>
            </a:prstGeom>
            <a:solidFill>
              <a:schemeClr val="tx1">
                <a:lumMod val="65000"/>
                <a:lumOff val="35000"/>
              </a:schemeClr>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solidFill>
                  <a:srgbClr val="0A296C"/>
                </a:solidFill>
              </a:endParaRPr>
            </a:p>
          </p:txBody>
        </p:sp>
        <p:sp>
          <p:nvSpPr>
            <p:cNvPr id="9" name="Pfeil: nach unten 8">
              <a:extLst>
                <a:ext uri="{FF2B5EF4-FFF2-40B4-BE49-F238E27FC236}">
                  <a16:creationId xmlns:a16="http://schemas.microsoft.com/office/drawing/2014/main" xmlns="" id="{4361ED6D-6C67-915E-E9C3-48F580CD7FD7}"/>
                </a:ext>
              </a:extLst>
            </p:cNvPr>
            <p:cNvSpPr/>
            <p:nvPr/>
          </p:nvSpPr>
          <p:spPr>
            <a:xfrm>
              <a:off x="6652217" y="3686260"/>
              <a:ext cx="396044" cy="540060"/>
            </a:xfrm>
            <a:prstGeom prst="downArrow">
              <a:avLst/>
            </a:prstGeom>
            <a:solidFill>
              <a:schemeClr val="tx1">
                <a:lumMod val="65000"/>
                <a:lumOff val="35000"/>
              </a:schemeClr>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solidFill>
                  <a:srgbClr val="0A296C"/>
                </a:solidFill>
              </a:endParaRPr>
            </a:p>
          </p:txBody>
        </p:sp>
      </p:grpSp>
      <p:sp>
        <p:nvSpPr>
          <p:cNvPr id="4" name="Pfeil: nach unten 3">
            <a:extLst>
              <a:ext uri="{FF2B5EF4-FFF2-40B4-BE49-F238E27FC236}">
                <a16:creationId xmlns:a16="http://schemas.microsoft.com/office/drawing/2014/main" xmlns="" id="{11A64398-A58F-34EB-2500-170B86DBF1EE}"/>
              </a:ext>
            </a:extLst>
          </p:cNvPr>
          <p:cNvSpPr/>
          <p:nvPr/>
        </p:nvSpPr>
        <p:spPr>
          <a:xfrm rot="16200000">
            <a:off x="4558556" y="1916832"/>
            <a:ext cx="396044" cy="540060"/>
          </a:xfrm>
          <a:prstGeom prst="downArrow">
            <a:avLst/>
          </a:prstGeom>
          <a:solidFill>
            <a:schemeClr val="tx1">
              <a:lumMod val="65000"/>
              <a:lumOff val="35000"/>
            </a:schemeClr>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solidFill>
                <a:srgbClr val="0A296C"/>
              </a:solidFill>
            </a:endParaRPr>
          </a:p>
        </p:txBody>
      </p:sp>
    </p:spTree>
    <p:extLst>
      <p:ext uri="{BB962C8B-B14F-4D97-AF65-F5344CB8AC3E}">
        <p14:creationId xmlns:p14="http://schemas.microsoft.com/office/powerpoint/2010/main" val="393369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xmlns="" id="{3E0A58D2-8CF6-C2FF-DC6E-F06977A99BE6}"/>
              </a:ext>
            </a:extLst>
          </p:cNvPr>
          <p:cNvSpPr txBox="1"/>
          <p:nvPr/>
        </p:nvSpPr>
        <p:spPr>
          <a:xfrm>
            <a:off x="1043608" y="2384884"/>
            <a:ext cx="6336704" cy="369332"/>
          </a:xfrm>
          <a:prstGeom prst="rect">
            <a:avLst/>
          </a:prstGeom>
          <a:noFill/>
        </p:spPr>
        <p:txBody>
          <a:bodyPr wrap="square">
            <a:spAutoFit/>
          </a:bodyPr>
          <a:lstStyle/>
          <a:p>
            <a:r>
              <a:rPr lang="de-DE" sz="1800" b="0">
                <a:solidFill>
                  <a:srgbClr val="0A296C"/>
                </a:solidFill>
                <a:effectLst/>
                <a:latin typeface="Arial" panose="020B0604020202020204" pitchFamily="34" charset="0"/>
                <a:ea typeface="Arial" panose="020B0604020202020204" pitchFamily="34" charset="0"/>
                <a:cs typeface="Times New Roman" panose="02020603050405020304" pitchFamily="18" charset="0"/>
              </a:rPr>
              <a:t>2. Vorblick auf die Verwaltungsratswahlen im Jahr 2024</a:t>
            </a:r>
            <a:endParaRPr lang="de-DE">
              <a:solidFill>
                <a:srgbClr val="0A296C"/>
              </a:solidFill>
            </a:endParaRPr>
          </a:p>
        </p:txBody>
      </p:sp>
    </p:spTree>
    <p:extLst>
      <p:ext uri="{BB962C8B-B14F-4D97-AF65-F5344CB8AC3E}">
        <p14:creationId xmlns:p14="http://schemas.microsoft.com/office/powerpoint/2010/main" val="2445069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xmlns="" id="{3E0A58D2-8CF6-C2FF-DC6E-F06977A99BE6}"/>
              </a:ext>
            </a:extLst>
          </p:cNvPr>
          <p:cNvSpPr txBox="1"/>
          <p:nvPr/>
        </p:nvSpPr>
        <p:spPr>
          <a:xfrm>
            <a:off x="1115616" y="1448780"/>
            <a:ext cx="7380820" cy="4247317"/>
          </a:xfrm>
          <a:prstGeom prst="rect">
            <a:avLst/>
          </a:prstGeom>
          <a:noFill/>
        </p:spPr>
        <p:txBody>
          <a:bodyPr wrap="square">
            <a:spAutoFit/>
          </a:bodyPr>
          <a:lstStyle/>
          <a:p>
            <a:pPr marL="342900" indent="-342900">
              <a:buFont typeface="+mj-lt"/>
              <a:buAutoNum type="arabicPeriod"/>
            </a:pPr>
            <a:r>
              <a:rPr lang="de-DE" sz="1800" b="0">
                <a:solidFill>
                  <a:srgbClr val="0A296C"/>
                </a:solidFill>
                <a:effectLst/>
                <a:latin typeface="Arial" panose="020B0604020202020204" pitchFamily="34" charset="0"/>
                <a:ea typeface="Arial" panose="020B0604020202020204" pitchFamily="34" charset="0"/>
                <a:cs typeface="Times New Roman" panose="02020603050405020304" pitchFamily="18" charset="0"/>
              </a:rPr>
              <a:t>Eine erste wichtige Aufgabe des neuen Pfarrgemeinderates ist die Wahl eines Verwaltungsrates. Diese soll innerhalb von drei Monaten nach Errichtung der Pfarrei stattfinden.</a:t>
            </a:r>
          </a:p>
          <a:p>
            <a:pPr marL="342900" indent="-342900">
              <a:buFont typeface="+mj-lt"/>
              <a:buAutoNum type="arabicPeriod"/>
            </a:pPr>
            <a:endParaRPr lang="de-DE">
              <a:solidFill>
                <a:srgbClr val="0A296C"/>
              </a:solidFill>
              <a:latin typeface="Arial" panose="020B0604020202020204" pitchFamily="34" charset="0"/>
              <a:cs typeface="Times New Roman" panose="02020603050405020304" pitchFamily="18" charset="0"/>
            </a:endParaRPr>
          </a:p>
          <a:p>
            <a:pPr marL="342900" indent="-342900">
              <a:buFont typeface="+mj-lt"/>
              <a:buAutoNum type="arabicPeriod"/>
            </a:pPr>
            <a:r>
              <a:rPr lang="de-DE">
                <a:solidFill>
                  <a:srgbClr val="0A296C"/>
                </a:solidFill>
                <a:latin typeface="Arial" panose="020B0604020202020204" pitchFamily="34" charset="0"/>
                <a:cs typeface="Times New Roman" panose="02020603050405020304" pitchFamily="18" charset="0"/>
              </a:rPr>
              <a:t>Diese Wahl richtet sich nach den „normalen“ Gesetzen und Ordnungen (Kirchenvermögenverwaltungsgesetz und Verwaltungsrat-Wahlordnung).</a:t>
            </a:r>
          </a:p>
          <a:p>
            <a:pPr marL="342900" indent="-342900">
              <a:buFont typeface="+mj-lt"/>
              <a:buAutoNum type="arabicPeriod"/>
            </a:pPr>
            <a:endParaRPr lang="de-DE">
              <a:solidFill>
                <a:srgbClr val="0A296C"/>
              </a:solidFill>
              <a:latin typeface="Arial" panose="020B0604020202020204" pitchFamily="34" charset="0"/>
              <a:cs typeface="Times New Roman" panose="02020603050405020304" pitchFamily="18" charset="0"/>
            </a:endParaRPr>
          </a:p>
          <a:p>
            <a:pPr marL="342900" indent="-342900">
              <a:buFont typeface="+mj-lt"/>
              <a:buAutoNum type="arabicPeriod"/>
            </a:pPr>
            <a:r>
              <a:rPr lang="de-DE">
                <a:solidFill>
                  <a:srgbClr val="FF0000"/>
                </a:solidFill>
                <a:latin typeface="Arial" panose="020B0604020202020204" pitchFamily="34" charset="0"/>
                <a:cs typeface="Times New Roman" panose="02020603050405020304" pitchFamily="18" charset="0"/>
              </a:rPr>
              <a:t>Wichtig: Alle offiziellen Schritte dieser Verwaltungsratswahl dürfen erst vom Pfarrgemeinderat und d.h. erst ab dem 01.01.2024 erfolgen. Dies gilt u.a.</a:t>
            </a:r>
          </a:p>
          <a:p>
            <a:pPr marL="742950" lvl="1" indent="-285750">
              <a:buFont typeface="Arial" panose="020B0604020202020204" pitchFamily="34" charset="0"/>
              <a:buChar char="•"/>
            </a:pPr>
            <a:r>
              <a:rPr lang="de-DE">
                <a:solidFill>
                  <a:srgbClr val="FF0000"/>
                </a:solidFill>
                <a:latin typeface="Arial" panose="020B0604020202020204" pitchFamily="34" charset="0"/>
                <a:cs typeface="Times New Roman" panose="02020603050405020304" pitchFamily="18" charset="0"/>
              </a:rPr>
              <a:t>für die Festsetzung des Wahltermins,</a:t>
            </a:r>
          </a:p>
          <a:p>
            <a:pPr marL="742950" lvl="1" indent="-285750">
              <a:buFont typeface="Arial" panose="020B0604020202020204" pitchFamily="34" charset="0"/>
              <a:buChar char="•"/>
            </a:pPr>
            <a:r>
              <a:rPr lang="de-DE">
                <a:solidFill>
                  <a:srgbClr val="FF0000"/>
                </a:solidFill>
                <a:latin typeface="Arial" panose="020B0604020202020204" pitchFamily="34" charset="0"/>
                <a:cs typeface="Times New Roman" panose="02020603050405020304" pitchFamily="18" charset="0"/>
              </a:rPr>
              <a:t>für die Wahl des Wahlausschusses,</a:t>
            </a:r>
          </a:p>
          <a:p>
            <a:pPr marL="742950" lvl="1" indent="-285750">
              <a:buFont typeface="Arial" panose="020B0604020202020204" pitchFamily="34" charset="0"/>
              <a:buChar char="•"/>
            </a:pPr>
            <a:r>
              <a:rPr lang="de-DE">
                <a:solidFill>
                  <a:srgbClr val="FF0000"/>
                </a:solidFill>
                <a:latin typeface="Arial" panose="020B0604020202020204" pitchFamily="34" charset="0"/>
                <a:cs typeface="Times New Roman" panose="02020603050405020304" pitchFamily="18" charset="0"/>
              </a:rPr>
              <a:t>für den Aufruf zur Abgabe von Wahlvorschlägen etc.</a:t>
            </a:r>
          </a:p>
          <a:p>
            <a:endParaRPr lang="de-DE">
              <a:solidFill>
                <a:srgbClr val="0A296C"/>
              </a:solidFill>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194761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xmlns="" id="{3E0A58D2-8CF6-C2FF-DC6E-F06977A99BE6}"/>
              </a:ext>
            </a:extLst>
          </p:cNvPr>
          <p:cNvSpPr txBox="1"/>
          <p:nvPr/>
        </p:nvSpPr>
        <p:spPr>
          <a:xfrm>
            <a:off x="1115616" y="1448780"/>
            <a:ext cx="7380820" cy="3970318"/>
          </a:xfrm>
          <a:prstGeom prst="rect">
            <a:avLst/>
          </a:prstGeom>
          <a:noFill/>
        </p:spPr>
        <p:txBody>
          <a:bodyPr wrap="square">
            <a:spAutoFit/>
          </a:bodyPr>
          <a:lstStyle/>
          <a:p>
            <a:pPr marL="342900" indent="-342900">
              <a:buFont typeface="+mj-lt"/>
              <a:buAutoNum type="arabicPeriod" startAt="4"/>
            </a:pPr>
            <a:r>
              <a:rPr lang="de-DE" dirty="0">
                <a:solidFill>
                  <a:srgbClr val="0A296C"/>
                </a:solidFill>
                <a:latin typeface="Arial" panose="020B0604020202020204" pitchFamily="34" charset="0"/>
                <a:cs typeface="Times New Roman" panose="02020603050405020304" pitchFamily="18" charset="0"/>
              </a:rPr>
              <a:t>Bei der Wahl zum Verwaltungsrat ist die Anzahl der zu Wählenden gesetzlich festgelegt. (Vorbehaltlich einer Prüfung vor Ort 8 Mitglieder im konkreten Fall.)</a:t>
            </a:r>
          </a:p>
          <a:p>
            <a:pPr marL="342900" indent="-342900">
              <a:buFont typeface="+mj-lt"/>
              <a:buAutoNum type="arabicPeriod" startAt="4"/>
            </a:pPr>
            <a:endParaRPr lang="de-DE" dirty="0">
              <a:solidFill>
                <a:srgbClr val="0A296C"/>
              </a:solidFill>
              <a:latin typeface="Arial" panose="020B0604020202020204" pitchFamily="34" charset="0"/>
              <a:cs typeface="Times New Roman" panose="02020603050405020304" pitchFamily="18" charset="0"/>
            </a:endParaRPr>
          </a:p>
          <a:p>
            <a:pPr marL="342900" indent="-342900">
              <a:buFont typeface="+mj-lt"/>
              <a:buAutoNum type="arabicPeriod" startAt="4"/>
            </a:pPr>
            <a:r>
              <a:rPr lang="de-DE" dirty="0">
                <a:solidFill>
                  <a:srgbClr val="0A296C"/>
                </a:solidFill>
                <a:latin typeface="Arial" panose="020B0604020202020204" pitchFamily="34" charset="0"/>
                <a:cs typeface="Times New Roman" panose="02020603050405020304" pitchFamily="18" charset="0"/>
              </a:rPr>
              <a:t>Eine Abweichung von dieser Zahl nach oben ist – vorbehaltlich der Zustimmung durch den Generalvikar – ggf. möglich. In diesem Falle müsste der neue Pfarrgemeinderat einen entsprechenden Dispensantrag beim Generalvikar stellen.</a:t>
            </a:r>
          </a:p>
          <a:p>
            <a:pPr marL="342900" indent="-342900">
              <a:buFont typeface="+mj-lt"/>
              <a:buAutoNum type="arabicPeriod" startAt="4"/>
            </a:pPr>
            <a:endParaRPr lang="de-DE" dirty="0">
              <a:solidFill>
                <a:srgbClr val="0A296C"/>
              </a:solidFill>
              <a:latin typeface="Arial" panose="020B0604020202020204" pitchFamily="34" charset="0"/>
              <a:cs typeface="Times New Roman" panose="02020603050405020304" pitchFamily="18" charset="0"/>
            </a:endParaRPr>
          </a:p>
          <a:p>
            <a:pPr marL="342900" indent="-342900">
              <a:buFont typeface="+mj-lt"/>
              <a:buAutoNum type="arabicPeriod" startAt="4"/>
            </a:pPr>
            <a:r>
              <a:rPr lang="de-DE" dirty="0">
                <a:solidFill>
                  <a:srgbClr val="0A296C"/>
                </a:solidFill>
                <a:latin typeface="Arial" panose="020B0604020202020204" pitchFamily="34" charset="0"/>
                <a:cs typeface="Times New Roman" panose="02020603050405020304" pitchFamily="18" charset="0"/>
              </a:rPr>
              <a:t>Eine Wahl nach Pfarrbezirken ist NICHT möglich. Es gibt eine Kandidatenliste.</a:t>
            </a:r>
          </a:p>
          <a:p>
            <a:pPr marL="342900" indent="-342900">
              <a:buFont typeface="+mj-lt"/>
              <a:buAutoNum type="arabicPeriod" startAt="4"/>
            </a:pPr>
            <a:endParaRPr lang="de-DE" dirty="0">
              <a:solidFill>
                <a:srgbClr val="0A296C"/>
              </a:solidFill>
              <a:latin typeface="Arial" panose="020B0604020202020204" pitchFamily="34" charset="0"/>
              <a:cs typeface="Times New Roman" panose="02020603050405020304" pitchFamily="18" charset="0"/>
            </a:endParaRPr>
          </a:p>
          <a:p>
            <a:pPr marL="342900" indent="-342900">
              <a:buFont typeface="+mj-lt"/>
              <a:buAutoNum type="arabicPeriod" startAt="4"/>
            </a:pPr>
            <a:r>
              <a:rPr lang="de-DE" dirty="0">
                <a:solidFill>
                  <a:srgbClr val="0A296C"/>
                </a:solidFill>
                <a:latin typeface="Arial" panose="020B0604020202020204" pitchFamily="34" charset="0"/>
                <a:cs typeface="Times New Roman" panose="02020603050405020304" pitchFamily="18" charset="0"/>
              </a:rPr>
              <a:t>Die Wahl muss geheim durchgeführt werden.</a:t>
            </a:r>
            <a:endParaRPr lang="de-DE" dirty="0">
              <a:solidFill>
                <a:srgbClr val="FF0000"/>
              </a:solidFill>
              <a:latin typeface="Arial" panose="020B0604020202020204" pitchFamily="34" charset="0"/>
              <a:cs typeface="Times New Roman" panose="02020603050405020304" pitchFamily="18" charset="0"/>
            </a:endParaRPr>
          </a:p>
          <a:p>
            <a:endParaRPr lang="de-DE" dirty="0">
              <a:solidFill>
                <a:srgbClr val="0A296C"/>
              </a:solidFill>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156479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6934200" y="5715000"/>
            <a:ext cx="1801218" cy="744948"/>
            <a:chOff x="5461358" y="4643564"/>
            <a:chExt cx="2969260" cy="1628139"/>
          </a:xfrm>
        </p:grpSpPr>
        <p:pic>
          <p:nvPicPr>
            <p:cNvPr id="8" name="object 8"/>
            <p:cNvPicPr/>
            <p:nvPr/>
          </p:nvPicPr>
          <p:blipFill>
            <a:blip r:embed="rId2" cstate="print"/>
            <a:stretch>
              <a:fillRect/>
            </a:stretch>
          </p:blipFill>
          <p:spPr>
            <a:xfrm>
              <a:off x="7199684" y="5973071"/>
              <a:ext cx="73736" cy="89803"/>
            </a:xfrm>
            <a:prstGeom prst="rect">
              <a:avLst/>
            </a:prstGeom>
          </p:spPr>
        </p:pic>
        <p:sp>
          <p:nvSpPr>
            <p:cNvPr id="9" name="object 9"/>
            <p:cNvSpPr/>
            <p:nvPr/>
          </p:nvSpPr>
          <p:spPr>
            <a:xfrm>
              <a:off x="7062178" y="5147995"/>
              <a:ext cx="1368425" cy="773430"/>
            </a:xfrm>
            <a:custGeom>
              <a:avLst/>
              <a:gdLst/>
              <a:ahLst/>
              <a:cxnLst/>
              <a:rect l="l" t="t" r="r" b="b"/>
              <a:pathLst>
                <a:path w="1368425" h="773429">
                  <a:moveTo>
                    <a:pt x="58978" y="738238"/>
                  </a:moveTo>
                  <a:lnTo>
                    <a:pt x="54965" y="724179"/>
                  </a:lnTo>
                  <a:lnTo>
                    <a:pt x="47256" y="712546"/>
                  </a:lnTo>
                  <a:lnTo>
                    <a:pt x="36957" y="704519"/>
                  </a:lnTo>
                  <a:lnTo>
                    <a:pt x="25120" y="701281"/>
                  </a:lnTo>
                  <a:lnTo>
                    <a:pt x="13995" y="703707"/>
                  </a:lnTo>
                  <a:lnTo>
                    <a:pt x="5549" y="711073"/>
                  </a:lnTo>
                  <a:lnTo>
                    <a:pt x="622" y="722261"/>
                  </a:lnTo>
                  <a:lnTo>
                    <a:pt x="0" y="736168"/>
                  </a:lnTo>
                  <a:lnTo>
                    <a:pt x="4013" y="750227"/>
                  </a:lnTo>
                  <a:lnTo>
                    <a:pt x="11722" y="761860"/>
                  </a:lnTo>
                  <a:lnTo>
                    <a:pt x="22021" y="769899"/>
                  </a:lnTo>
                  <a:lnTo>
                    <a:pt x="33845" y="773125"/>
                  </a:lnTo>
                  <a:lnTo>
                    <a:pt x="44983" y="770712"/>
                  </a:lnTo>
                  <a:lnTo>
                    <a:pt x="53428" y="763346"/>
                  </a:lnTo>
                  <a:lnTo>
                    <a:pt x="58356" y="752144"/>
                  </a:lnTo>
                  <a:lnTo>
                    <a:pt x="58978" y="738238"/>
                  </a:lnTo>
                  <a:close/>
                </a:path>
                <a:path w="1368425" h="773429">
                  <a:moveTo>
                    <a:pt x="1285748" y="19608"/>
                  </a:moveTo>
                  <a:lnTo>
                    <a:pt x="1279334" y="4165"/>
                  </a:lnTo>
                  <a:lnTo>
                    <a:pt x="1271917" y="0"/>
                  </a:lnTo>
                  <a:lnTo>
                    <a:pt x="1260055" y="5105"/>
                  </a:lnTo>
                  <a:lnTo>
                    <a:pt x="1257846" y="13449"/>
                  </a:lnTo>
                  <a:lnTo>
                    <a:pt x="1264259" y="28879"/>
                  </a:lnTo>
                  <a:lnTo>
                    <a:pt x="1271676" y="33058"/>
                  </a:lnTo>
                  <a:lnTo>
                    <a:pt x="1277607" y="30492"/>
                  </a:lnTo>
                  <a:lnTo>
                    <a:pt x="1283550" y="27940"/>
                  </a:lnTo>
                  <a:lnTo>
                    <a:pt x="1285748" y="19608"/>
                  </a:lnTo>
                  <a:close/>
                </a:path>
                <a:path w="1368425" h="773429">
                  <a:moveTo>
                    <a:pt x="1294523" y="141135"/>
                  </a:moveTo>
                  <a:lnTo>
                    <a:pt x="1286497" y="121843"/>
                  </a:lnTo>
                  <a:lnTo>
                    <a:pt x="1277226" y="116611"/>
                  </a:lnTo>
                  <a:lnTo>
                    <a:pt x="1262380" y="123012"/>
                  </a:lnTo>
                  <a:lnTo>
                    <a:pt x="1259624" y="133426"/>
                  </a:lnTo>
                  <a:lnTo>
                    <a:pt x="1267650" y="152730"/>
                  </a:lnTo>
                  <a:lnTo>
                    <a:pt x="1276921" y="157949"/>
                  </a:lnTo>
                  <a:lnTo>
                    <a:pt x="1284338" y="154749"/>
                  </a:lnTo>
                  <a:lnTo>
                    <a:pt x="1291755" y="151549"/>
                  </a:lnTo>
                  <a:lnTo>
                    <a:pt x="1294523" y="141135"/>
                  </a:lnTo>
                  <a:close/>
                </a:path>
                <a:path w="1368425" h="773429">
                  <a:moveTo>
                    <a:pt x="1368298" y="533209"/>
                  </a:moveTo>
                  <a:lnTo>
                    <a:pt x="1365732" y="524217"/>
                  </a:lnTo>
                  <a:lnTo>
                    <a:pt x="1360805" y="516763"/>
                  </a:lnTo>
                  <a:lnTo>
                    <a:pt x="1354201" y="511619"/>
                  </a:lnTo>
                  <a:lnTo>
                    <a:pt x="1346631" y="509562"/>
                  </a:lnTo>
                  <a:lnTo>
                    <a:pt x="1339507" y="511111"/>
                  </a:lnTo>
                  <a:lnTo>
                    <a:pt x="1334109" y="515823"/>
                  </a:lnTo>
                  <a:lnTo>
                    <a:pt x="1330947" y="522986"/>
                  </a:lnTo>
                  <a:lnTo>
                    <a:pt x="1330553" y="531876"/>
                  </a:lnTo>
                  <a:lnTo>
                    <a:pt x="1333119" y="540880"/>
                  </a:lnTo>
                  <a:lnTo>
                    <a:pt x="1338059" y="548335"/>
                  </a:lnTo>
                  <a:lnTo>
                    <a:pt x="1344650" y="553466"/>
                  </a:lnTo>
                  <a:lnTo>
                    <a:pt x="1352219" y="555536"/>
                  </a:lnTo>
                  <a:lnTo>
                    <a:pt x="1359344" y="553986"/>
                  </a:lnTo>
                  <a:lnTo>
                    <a:pt x="1364754" y="549275"/>
                  </a:lnTo>
                  <a:lnTo>
                    <a:pt x="1367904" y="542112"/>
                  </a:lnTo>
                  <a:lnTo>
                    <a:pt x="1368298" y="533209"/>
                  </a:lnTo>
                  <a:close/>
                </a:path>
              </a:pathLst>
            </a:custGeom>
            <a:solidFill>
              <a:srgbClr val="C9252B"/>
            </a:solidFill>
          </p:spPr>
          <p:txBody>
            <a:bodyPr wrap="square" lIns="0" tIns="0" rIns="0" bIns="0" rtlCol="0"/>
            <a:lstStyle/>
            <a:p>
              <a:endParaRPr/>
            </a:p>
          </p:txBody>
        </p:sp>
        <p:pic>
          <p:nvPicPr>
            <p:cNvPr id="10" name="object 10"/>
            <p:cNvPicPr/>
            <p:nvPr/>
          </p:nvPicPr>
          <p:blipFill>
            <a:blip r:embed="rId3" cstate="print"/>
            <a:stretch>
              <a:fillRect/>
            </a:stretch>
          </p:blipFill>
          <p:spPr>
            <a:xfrm>
              <a:off x="5461358" y="4643564"/>
              <a:ext cx="2918755" cy="1627665"/>
            </a:xfrm>
            <a:prstGeom prst="rect">
              <a:avLst/>
            </a:prstGeom>
          </p:spPr>
        </p:pic>
      </p:grpSp>
      <p:sp>
        <p:nvSpPr>
          <p:cNvPr id="11" name="object 11"/>
          <p:cNvSpPr txBox="1"/>
          <p:nvPr/>
        </p:nvSpPr>
        <p:spPr>
          <a:xfrm>
            <a:off x="7183796" y="5961476"/>
            <a:ext cx="1562499" cy="151323"/>
          </a:xfrm>
          <a:prstGeom prst="rect">
            <a:avLst/>
          </a:prstGeom>
        </p:spPr>
        <p:txBody>
          <a:bodyPr vert="horz" wrap="square" lIns="0" tIns="12700" rIns="0" bIns="0" rtlCol="0">
            <a:spAutoFit/>
          </a:bodyPr>
          <a:lstStyle/>
          <a:p>
            <a:pPr marL="12700">
              <a:lnSpc>
                <a:spcPct val="100000"/>
              </a:lnSpc>
              <a:spcBef>
                <a:spcPts val="100"/>
              </a:spcBef>
            </a:pPr>
            <a:r>
              <a:rPr sz="900" b="0">
                <a:solidFill>
                  <a:srgbClr val="C9252B"/>
                </a:solidFill>
                <a:latin typeface="Klavika Lt"/>
                <a:cs typeface="Klavika Lt"/>
              </a:rPr>
              <a:t>Forum</a:t>
            </a:r>
            <a:r>
              <a:rPr sz="900" b="0" spc="-55">
                <a:solidFill>
                  <a:srgbClr val="C9252B"/>
                </a:solidFill>
                <a:latin typeface="Klavika Lt"/>
                <a:cs typeface="Klavika Lt"/>
              </a:rPr>
              <a:t> </a:t>
            </a:r>
            <a:r>
              <a:rPr sz="900" b="0">
                <a:solidFill>
                  <a:srgbClr val="C9252B"/>
                </a:solidFill>
                <a:latin typeface="Klavika Lt"/>
                <a:cs typeface="Klavika Lt"/>
              </a:rPr>
              <a:t>zur</a:t>
            </a:r>
            <a:r>
              <a:rPr sz="900" b="0" spc="-50">
                <a:solidFill>
                  <a:srgbClr val="C9252B"/>
                </a:solidFill>
                <a:latin typeface="Klavika Lt"/>
                <a:cs typeface="Klavika Lt"/>
              </a:rPr>
              <a:t> </a:t>
            </a:r>
            <a:r>
              <a:rPr sz="900" b="0" spc="-10">
                <a:solidFill>
                  <a:srgbClr val="C9252B"/>
                </a:solidFill>
                <a:latin typeface="Klavika Lt"/>
                <a:cs typeface="Klavika Lt"/>
              </a:rPr>
              <a:t>Räte</a:t>
            </a:r>
            <a:r>
              <a:rPr lang="de-DE" sz="900" b="0" spc="-10">
                <a:solidFill>
                  <a:srgbClr val="C9252B"/>
                </a:solidFill>
                <a:latin typeface="Klavika Lt"/>
                <a:cs typeface="Klavika Lt"/>
              </a:rPr>
              <a:t>arbeit</a:t>
            </a:r>
            <a:endParaRPr sz="900">
              <a:latin typeface="Klavika Lt"/>
              <a:cs typeface="Klavika Lt"/>
            </a:endParaRPr>
          </a:p>
        </p:txBody>
      </p:sp>
      <p:sp>
        <p:nvSpPr>
          <p:cNvPr id="13" name="Textfeld 12">
            <a:extLst>
              <a:ext uri="{FF2B5EF4-FFF2-40B4-BE49-F238E27FC236}">
                <a16:creationId xmlns:a16="http://schemas.microsoft.com/office/drawing/2014/main" xmlns="" id="{C50D7E93-27C0-1947-8925-E29B1B840441}"/>
              </a:ext>
            </a:extLst>
          </p:cNvPr>
          <p:cNvSpPr txBox="1"/>
          <p:nvPr/>
        </p:nvSpPr>
        <p:spPr>
          <a:xfrm>
            <a:off x="719572" y="1219200"/>
            <a:ext cx="7430515" cy="4601260"/>
          </a:xfrm>
          <a:prstGeom prst="rect">
            <a:avLst/>
          </a:prstGeom>
          <a:noFill/>
        </p:spPr>
        <p:txBody>
          <a:bodyPr wrap="square">
            <a:spAutoFit/>
          </a:bodyPr>
          <a:lstStyle/>
          <a:p>
            <a:r>
              <a:rPr lang="de-DE" sz="2000" b="1">
                <a:solidFill>
                  <a:srgbClr val="C00000"/>
                </a:solidFill>
                <a:latin typeface="Arial" panose="020B0604020202020204" pitchFamily="34" charset="0"/>
                <a:ea typeface="MS Mincho" panose="02020609040205080304" pitchFamily="49" charset="-128"/>
                <a:cs typeface="Times New Roman" panose="02020603050405020304" pitchFamily="18" charset="0"/>
              </a:rPr>
              <a:t>online-Forum </a:t>
            </a:r>
            <a:r>
              <a:rPr lang="de-DE" sz="2000" b="1" i="1">
                <a:solidFill>
                  <a:srgbClr val="C00000"/>
                </a:solidFill>
                <a:latin typeface="Arial" panose="020B0604020202020204" pitchFamily="34" charset="0"/>
                <a:ea typeface="MS Mincho" panose="02020609040205080304" pitchFamily="49" charset="-128"/>
                <a:cs typeface="Times New Roman" panose="02020603050405020304" pitchFamily="18" charset="0"/>
              </a:rPr>
              <a:t>extra</a:t>
            </a:r>
            <a:endParaRPr lang="de-DE" sz="2000" b="1">
              <a:solidFill>
                <a:srgbClr val="C00000"/>
              </a:solidFill>
              <a:effectLst/>
              <a:latin typeface="Arial" panose="020B0604020202020204" pitchFamily="34" charset="0"/>
              <a:ea typeface="MS Mincho" panose="02020609040205080304" pitchFamily="49" charset="-128"/>
              <a:cs typeface="Times New Roman" panose="02020603050405020304" pitchFamily="18" charset="0"/>
            </a:endParaRPr>
          </a:p>
          <a:p>
            <a:endParaRPr lang="de-DE" sz="2000" b="1">
              <a:latin typeface="Arial" panose="020B0604020202020204" pitchFamily="34" charset="0"/>
              <a:ea typeface="MS Mincho" panose="02020609040205080304" pitchFamily="49" charset="-128"/>
              <a:cs typeface="Times New Roman" panose="02020603050405020304" pitchFamily="18" charset="0"/>
            </a:endParaRPr>
          </a:p>
          <a:p>
            <a:endParaRPr lang="de-DE" sz="2000" b="1">
              <a:effectLst/>
              <a:latin typeface="Arial" panose="020B0604020202020204" pitchFamily="34" charset="0"/>
              <a:ea typeface="MS Mincho" panose="02020609040205080304" pitchFamily="49" charset="-128"/>
              <a:cs typeface="Times New Roman" panose="02020603050405020304" pitchFamily="18" charset="0"/>
            </a:endParaRPr>
          </a:p>
          <a:p>
            <a:r>
              <a:rPr lang="de-DE" sz="2000" b="1">
                <a:solidFill>
                  <a:srgbClr val="0A296C"/>
                </a:solidFill>
                <a:effectLst/>
                <a:latin typeface="Arial" panose="020B0604020202020204" pitchFamily="34" charset="0"/>
                <a:ea typeface="MS Mincho" panose="02020609040205080304" pitchFamily="49" charset="-128"/>
                <a:cs typeface="Times New Roman" panose="02020603050405020304" pitchFamily="18" charset="0"/>
              </a:rPr>
              <a:t>Informationen zu den Verwaltungsratswahlen</a:t>
            </a:r>
            <a:endParaRPr lang="de-DE" sz="2000">
              <a:solidFill>
                <a:srgbClr val="0A296C"/>
              </a:solidFill>
              <a:effectLst/>
              <a:latin typeface="Hoefler Text"/>
              <a:ea typeface="MS Mincho" panose="02020609040205080304" pitchFamily="49" charset="-128"/>
              <a:cs typeface="Times New Roman" panose="02020603050405020304" pitchFamily="18" charset="0"/>
            </a:endParaRPr>
          </a:p>
          <a:p>
            <a:pPr marL="9525" marR="849630">
              <a:spcAft>
                <a:spcPts val="600"/>
              </a:spcAft>
            </a:pPr>
            <a:endParaRPr lang="de-DE" sz="2000">
              <a:solidFill>
                <a:srgbClr val="0A296C"/>
              </a:solidFill>
              <a:latin typeface="Gill Sans MT" panose="020B0502020104020203" pitchFamily="34" charset="0"/>
              <a:cs typeface="Gill Sans MT"/>
            </a:endParaRPr>
          </a:p>
          <a:p>
            <a:pPr marL="9525" marR="849630">
              <a:spcAft>
                <a:spcPts val="600"/>
              </a:spcAft>
            </a:pPr>
            <a:r>
              <a:rPr lang="de-DE" sz="2000">
                <a:solidFill>
                  <a:srgbClr val="0A296C"/>
                </a:solidFill>
                <a:latin typeface="Gill Sans MT" panose="020B0502020104020203" pitchFamily="34" charset="0"/>
                <a:cs typeface="Gill Sans MT"/>
              </a:rPr>
              <a:t>Mittwoch,</a:t>
            </a:r>
            <a:r>
              <a:rPr lang="de-DE" sz="2000" spc="11">
                <a:solidFill>
                  <a:srgbClr val="0A296C"/>
                </a:solidFill>
                <a:latin typeface="Gill Sans MT" panose="020B0502020104020203" pitchFamily="34" charset="0"/>
                <a:cs typeface="Gill Sans MT"/>
              </a:rPr>
              <a:t> </a:t>
            </a:r>
            <a:r>
              <a:rPr lang="de-DE" sz="2000" spc="-8">
                <a:solidFill>
                  <a:srgbClr val="0A296C"/>
                </a:solidFill>
                <a:latin typeface="Gill Sans MT" panose="020B0502020104020203" pitchFamily="34" charset="0"/>
                <a:cs typeface="Gill Sans MT"/>
              </a:rPr>
              <a:t>03. Januar 2024</a:t>
            </a:r>
          </a:p>
          <a:p>
            <a:pPr marL="9525" marR="849630">
              <a:spcAft>
                <a:spcPts val="600"/>
              </a:spcAft>
            </a:pPr>
            <a:r>
              <a:rPr lang="de-DE" sz="2000" spc="-8">
                <a:solidFill>
                  <a:srgbClr val="0A296C"/>
                </a:solidFill>
                <a:latin typeface="Gill Sans MT" panose="020B0502020104020203" pitchFamily="34" charset="0"/>
                <a:cs typeface="Gill Sans MT"/>
              </a:rPr>
              <a:t>19.00 Uhr – max. 21.00 Uhr</a:t>
            </a:r>
          </a:p>
          <a:p>
            <a:pPr algn="l">
              <a:spcAft>
                <a:spcPts val="600"/>
              </a:spcAft>
            </a:pPr>
            <a:endParaRPr lang="de-DE" sz="1900">
              <a:solidFill>
                <a:srgbClr val="0A296C"/>
              </a:solidFill>
              <a:latin typeface="Gill Sans MT" panose="020B0502020104020203" pitchFamily="34" charset="0"/>
            </a:endParaRPr>
          </a:p>
          <a:p>
            <a:pPr algn="l">
              <a:spcAft>
                <a:spcPts val="600"/>
              </a:spcAft>
            </a:pPr>
            <a:r>
              <a:rPr lang="de-DE" sz="1900">
                <a:solidFill>
                  <a:srgbClr val="0A296C"/>
                </a:solidFill>
                <a:latin typeface="Gill Sans MT" panose="020B0502020104020203" pitchFamily="34" charset="0"/>
              </a:rPr>
              <a:t>Link für Videoanruf: </a:t>
            </a:r>
          </a:p>
          <a:p>
            <a:pPr algn="l">
              <a:spcAft>
                <a:spcPts val="600"/>
              </a:spcAft>
            </a:pPr>
            <a:r>
              <a:rPr lang="de-DE" sz="2000" b="0" i="0" u="sng">
                <a:solidFill>
                  <a:srgbClr val="0A296C"/>
                </a:solidFill>
                <a:effectLst/>
                <a:latin typeface="Almaden Sans"/>
                <a:hlinkClick r:id="rId4">
                  <a:extLst>
                    <a:ext uri="{A12FA001-AC4F-418D-AE19-62706E023703}">
                      <ahyp:hlinkClr xmlns:ahyp="http://schemas.microsoft.com/office/drawing/2018/hyperlinkcolor" xmlns="" val="tx"/>
                    </a:ext>
                  </a:extLst>
                </a:hlinkClick>
              </a:rPr>
              <a:t>https://us06web.zoom.us/j/89814044063?pwd=cGdYcEpUelBES09GRXVZR05vb0VBZz09</a:t>
            </a:r>
            <a:r>
              <a:rPr lang="de-DE" sz="2000" b="0" i="0" u="sng">
                <a:solidFill>
                  <a:srgbClr val="0A296C"/>
                </a:solidFill>
                <a:effectLst/>
                <a:latin typeface="Almaden Sans"/>
              </a:rPr>
              <a:t> </a:t>
            </a:r>
          </a:p>
          <a:p>
            <a:pPr algn="l">
              <a:spcAft>
                <a:spcPts val="600"/>
              </a:spcAft>
            </a:pPr>
            <a:endParaRPr lang="de-DE" sz="2000" b="0" i="0" u="sng">
              <a:solidFill>
                <a:srgbClr val="0A296C"/>
              </a:solidFill>
              <a:effectLst/>
              <a:latin typeface="Almaden Sans"/>
            </a:endParaRPr>
          </a:p>
          <a:p>
            <a:pPr algn="l">
              <a:spcAft>
                <a:spcPts val="600"/>
              </a:spcAft>
            </a:pPr>
            <a:r>
              <a:rPr lang="de-DE" sz="2000">
                <a:solidFill>
                  <a:srgbClr val="0A296C"/>
                </a:solidFill>
                <a:latin typeface="Almaden Sans"/>
              </a:rPr>
              <a:t>Herzliche Einladung - Eine Anmeldung ist nicht erforderlich!</a:t>
            </a:r>
            <a:endParaRPr lang="de-DE" sz="1900">
              <a:solidFill>
                <a:srgbClr val="0A296C"/>
              </a:solidFill>
              <a:latin typeface="Gill Sans MT" panose="020B0502020104020203" pitchFamily="34" charset="0"/>
            </a:endParaRPr>
          </a:p>
        </p:txBody>
      </p:sp>
    </p:spTree>
    <p:extLst>
      <p:ext uri="{BB962C8B-B14F-4D97-AF65-F5344CB8AC3E}">
        <p14:creationId xmlns:p14="http://schemas.microsoft.com/office/powerpoint/2010/main" val="1703098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xmlns="" id="{7F5A12C6-3DB7-7B44-42AA-8CB137509344}"/>
              </a:ext>
            </a:extLst>
          </p:cNvPr>
          <p:cNvSpPr txBox="1"/>
          <p:nvPr/>
        </p:nvSpPr>
        <p:spPr>
          <a:xfrm>
            <a:off x="863588" y="2720819"/>
            <a:ext cx="7272808" cy="1754326"/>
          </a:xfrm>
          <a:prstGeom prst="rect">
            <a:avLst/>
          </a:prstGeom>
          <a:noFill/>
        </p:spPr>
        <p:txBody>
          <a:bodyPr wrap="square">
            <a:spAutoFit/>
          </a:bodyPr>
          <a:lstStyle/>
          <a:p>
            <a:r>
              <a:rPr lang="de-DE">
                <a:solidFill>
                  <a:srgbClr val="0A296C"/>
                </a:solidFill>
              </a:rPr>
              <a:t>Arbeitsmaterialien und Gesetzestexte bzw. Ordnungen wurden 31.10.2023 an die Pfarrer und die Damen und Herren Vorsitzenden der amtierenden Pfarreienräte verschickt. </a:t>
            </a:r>
          </a:p>
          <a:p>
            <a:endParaRPr lang="de-DE">
              <a:solidFill>
                <a:srgbClr val="0A296C"/>
              </a:solidFill>
            </a:endParaRPr>
          </a:p>
          <a:p>
            <a:r>
              <a:rPr lang="de-DE">
                <a:solidFill>
                  <a:srgbClr val="0A296C"/>
                </a:solidFill>
              </a:rPr>
              <a:t>Sie finden Sie auch unter:</a:t>
            </a:r>
          </a:p>
          <a:p>
            <a:r>
              <a:rPr lang="de-DE">
                <a:solidFill>
                  <a:srgbClr val="0A296C"/>
                </a:solidFill>
              </a:rPr>
              <a:t>www.bistum-trier.de/ehrenamt/kirchliche-raete/verwaltungsratswahlen</a:t>
            </a:r>
            <a:r>
              <a:rPr lang="de-DE"/>
              <a:t>/</a:t>
            </a:r>
          </a:p>
        </p:txBody>
      </p:sp>
    </p:spTree>
    <p:extLst>
      <p:ext uri="{BB962C8B-B14F-4D97-AF65-F5344CB8AC3E}">
        <p14:creationId xmlns:p14="http://schemas.microsoft.com/office/powerpoint/2010/main" val="3807298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5"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347864" y="1327826"/>
            <a:ext cx="5252294" cy="2616101"/>
          </a:xfrm>
        </p:spPr>
        <p:txBody>
          <a:bodyPr/>
          <a:lstStyle/>
          <a:p>
            <a:pPr marL="449580"/>
            <a:r>
              <a:rPr lang="de-DE" sz="1800" b="0">
                <a:effectLst/>
                <a:latin typeface="Arial" panose="020B0604020202020204" pitchFamily="34" charset="0"/>
                <a:ea typeface="Arial" panose="020B0604020202020204" pitchFamily="34" charset="0"/>
                <a:cs typeface="Times New Roman" panose="02020603050405020304" pitchFamily="18" charset="0"/>
              </a:rPr>
              <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b="0">
                <a:effectLst/>
                <a:latin typeface="Arial" panose="020B0604020202020204" pitchFamily="34" charset="0"/>
                <a:ea typeface="Arial" panose="020B0604020202020204" pitchFamily="34" charset="0"/>
                <a:cs typeface="Times New Roman" panose="02020603050405020304" pitchFamily="18" charset="0"/>
              </a:rPr>
              <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b="0">
                <a:effectLst/>
                <a:latin typeface="Arial" panose="020B0604020202020204" pitchFamily="34" charset="0"/>
                <a:ea typeface="Arial" panose="020B0604020202020204" pitchFamily="34" charset="0"/>
                <a:cs typeface="Times New Roman" panose="02020603050405020304" pitchFamily="18" charset="0"/>
              </a:rPr>
              <a:t>3. Informationen zu „Lokalen Teams“ und „Verwaltungsteams“</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a:effectLst/>
                <a:latin typeface="Hoefler Text"/>
                <a:ea typeface="MS Mincho" panose="02020609040205080304" pitchFamily="49" charset="-128"/>
                <a:cs typeface="Times New Roman" panose="02020603050405020304" pitchFamily="18" charset="0"/>
              </a:rPr>
              <a:t/>
            </a:r>
            <a:br>
              <a:rPr lang="de-DE" sz="1800">
                <a:effectLst/>
                <a:latin typeface="Hoefler Text"/>
                <a:ea typeface="MS Mincho" panose="02020609040205080304" pitchFamily="49" charset="-128"/>
                <a:cs typeface="Times New Roman" panose="02020603050405020304" pitchFamily="18" charset="0"/>
              </a:rPr>
            </a:br>
            <a:endParaRPr lang="de-DE" sz="2000"/>
          </a:p>
        </p:txBody>
      </p:sp>
      <p:sp>
        <p:nvSpPr>
          <p:cNvPr id="7" name="Text Placeholder 6"/>
          <p:cNvSpPr>
            <a:spLocks noGrp="1"/>
          </p:cNvSpPr>
          <p:nvPr>
            <p:ph type="body" sz="quarter" idx="10"/>
          </p:nvPr>
        </p:nvSpPr>
        <p:spPr>
          <a:xfrm>
            <a:off x="673031" y="5688927"/>
            <a:ext cx="8056317" cy="369332"/>
          </a:xfrm>
        </p:spPr>
        <p:txBody>
          <a:bodyPr/>
          <a:lstStyle/>
          <a:p>
            <a:endParaRPr lang="de-DE" sz="2400" b="0"/>
          </a:p>
        </p:txBody>
      </p:sp>
    </p:spTree>
    <p:extLst>
      <p:ext uri="{BB962C8B-B14F-4D97-AF65-F5344CB8AC3E}">
        <p14:creationId xmlns:p14="http://schemas.microsoft.com/office/powerpoint/2010/main" val="21093074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2" cstate="print">
            <a:grayscl/>
            <a:extLst>
              <a:ext uri="{28A0092B-C50C-407E-A947-70E740481C1C}">
                <a14:useLocalDpi xmlns:a14="http://schemas.microsoft.com/office/drawing/2010/main" val="0"/>
              </a:ext>
            </a:extLst>
          </a:blip>
          <a:srcRect r="27317"/>
          <a:stretch/>
        </p:blipFill>
        <p:spPr>
          <a:xfrm>
            <a:off x="2216217" y="1022005"/>
            <a:ext cx="4555156" cy="3944645"/>
          </a:xfrm>
          <a:prstGeom prst="rect">
            <a:avLst/>
          </a:prstGeom>
        </p:spPr>
      </p:pic>
      <p:sp>
        <p:nvSpPr>
          <p:cNvPr id="2" name="Titel 1"/>
          <p:cNvSpPr>
            <a:spLocks noGrp="1"/>
          </p:cNvSpPr>
          <p:nvPr>
            <p:ph type="ctrTitle"/>
          </p:nvPr>
        </p:nvSpPr>
        <p:spPr>
          <a:xfrm>
            <a:off x="2216217" y="4627596"/>
            <a:ext cx="4555156" cy="678109"/>
          </a:xfrm>
          <a:solidFill>
            <a:srgbClr val="C8242B"/>
          </a:solidFill>
        </p:spPr>
        <p:txBody>
          <a:bodyPr anchor="t">
            <a:normAutofit/>
          </a:bodyPr>
          <a:lstStyle/>
          <a:p>
            <a:pPr algn="l"/>
            <a:r>
              <a:rPr lang="de-DE" sz="3750">
                <a:solidFill>
                  <a:schemeClr val="bg1"/>
                </a:solidFill>
                <a:latin typeface="Myriad Pro" panose="020B0503030403020204" pitchFamily="34" charset="0"/>
              </a:rPr>
              <a:t>   Lokale Teams</a:t>
            </a:r>
          </a:p>
        </p:txBody>
      </p:sp>
      <p:sp>
        <p:nvSpPr>
          <p:cNvPr id="3" name="Untertitel 2"/>
          <p:cNvSpPr>
            <a:spLocks noGrp="1"/>
          </p:cNvSpPr>
          <p:nvPr>
            <p:ph type="subTitle" idx="1"/>
          </p:nvPr>
        </p:nvSpPr>
        <p:spPr>
          <a:xfrm>
            <a:off x="2216217" y="5305704"/>
            <a:ext cx="4555155" cy="614050"/>
          </a:xfrm>
          <a:solidFill>
            <a:srgbClr val="C8242B"/>
          </a:solidFill>
        </p:spPr>
        <p:txBody>
          <a:bodyPr>
            <a:normAutofit/>
          </a:bodyPr>
          <a:lstStyle/>
          <a:p>
            <a:pPr lvl="1" algn="l"/>
            <a:r>
              <a:rPr lang="de-DE">
                <a:solidFill>
                  <a:schemeClr val="bg1"/>
                </a:solidFill>
              </a:rPr>
              <a:t>Eine hilfreiche Ergänzung zu den gewählten Gremien</a:t>
            </a: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spTree>
    <p:extLst>
      <p:ext uri="{BB962C8B-B14F-4D97-AF65-F5344CB8AC3E}">
        <p14:creationId xmlns:p14="http://schemas.microsoft.com/office/powerpoint/2010/main" val="2152590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xmlns="" id="{7F5A12C6-3DB7-7B44-42AA-8CB137509344}"/>
              </a:ext>
            </a:extLst>
          </p:cNvPr>
          <p:cNvSpPr txBox="1"/>
          <p:nvPr/>
        </p:nvSpPr>
        <p:spPr>
          <a:xfrm>
            <a:off x="863588" y="3107756"/>
            <a:ext cx="7272808" cy="369332"/>
          </a:xfrm>
          <a:prstGeom prst="rect">
            <a:avLst/>
          </a:prstGeom>
          <a:noFill/>
        </p:spPr>
        <p:txBody>
          <a:bodyPr wrap="square">
            <a:spAutoFit/>
          </a:bodyPr>
          <a:lstStyle/>
          <a:p>
            <a:r>
              <a:rPr lang="de-DE">
                <a:solidFill>
                  <a:srgbClr val="0A296C"/>
                </a:solidFill>
              </a:rPr>
              <a:t>www.bistum-trier.de/ehrenamt/kirchliche-raete</a:t>
            </a:r>
            <a:r>
              <a:rPr lang="de-DE"/>
              <a:t>/</a:t>
            </a:r>
          </a:p>
        </p:txBody>
      </p:sp>
    </p:spTree>
    <p:extLst>
      <p:ext uri="{BB962C8B-B14F-4D97-AF65-F5344CB8AC3E}">
        <p14:creationId xmlns:p14="http://schemas.microsoft.com/office/powerpoint/2010/main" val="17661233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60419" name="think-cell Slide" r:id="rId5" imgW="328" imgH="328" progId="TCLayout.ActiveDocument.1">
                  <p:embed/>
                </p:oleObj>
              </mc:Choice>
              <mc:Fallback>
                <p:oleObj name="think-cell Slide" r:id="rId5" imgW="328" imgH="328" progId="TCLayout.ActiveDocument.1">
                  <p:embed/>
                  <p:pic>
                    <p:nvPicPr>
                      <p:cNvPr id="27" name="Object 26" hidden="1"/>
                      <p:cNvPicPr/>
                      <p:nvPr/>
                    </p:nvPicPr>
                    <p:blipFill>
                      <a:blip r:embed="rId6"/>
                      <a:stretch>
                        <a:fillRect/>
                      </a:stretch>
                    </p:blipFill>
                    <p:spPr>
                      <a:xfrm>
                        <a:off x="1144192" y="858442"/>
                        <a:ext cx="1190" cy="1190"/>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xmlns="" id="{0D18AC16-04D3-9A6B-079C-FEBD7869582C}"/>
              </a:ext>
            </a:extLst>
          </p:cNvPr>
          <p:cNvSpPr txBox="1"/>
          <p:nvPr/>
        </p:nvSpPr>
        <p:spPr>
          <a:xfrm>
            <a:off x="778136" y="1052736"/>
            <a:ext cx="7956884" cy="3416320"/>
          </a:xfrm>
          <a:prstGeom prst="rect">
            <a:avLst/>
          </a:prstGeom>
          <a:noFill/>
        </p:spPr>
        <p:txBody>
          <a:bodyPr wrap="square" rtlCol="0">
            <a:spAutoFit/>
          </a:bodyPr>
          <a:lstStyle/>
          <a:p>
            <a:endParaRPr lang="de-DE" sz="2400">
              <a:solidFill>
                <a:schemeClr val="tx2"/>
              </a:solidFill>
            </a:endParaRPr>
          </a:p>
          <a:p>
            <a:endParaRPr lang="de-DE" sz="2400">
              <a:solidFill>
                <a:schemeClr val="tx2"/>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a:p>
            <a:endParaRPr lang="de-DE" sz="1400">
              <a:solidFill>
                <a:srgbClr val="C41300"/>
              </a:solidFill>
            </a:endParaRPr>
          </a:p>
        </p:txBody>
      </p:sp>
      <p:grpSp>
        <p:nvGrpSpPr>
          <p:cNvPr id="10" name="Gruppieren 9">
            <a:extLst>
              <a:ext uri="{FF2B5EF4-FFF2-40B4-BE49-F238E27FC236}">
                <a16:creationId xmlns:a16="http://schemas.microsoft.com/office/drawing/2014/main" xmlns="" id="{9C146C6F-7922-804A-1B48-4FC337069494}"/>
              </a:ext>
            </a:extLst>
          </p:cNvPr>
          <p:cNvGrpSpPr/>
          <p:nvPr/>
        </p:nvGrpSpPr>
        <p:grpSpPr>
          <a:xfrm>
            <a:off x="647564" y="1736725"/>
            <a:ext cx="3924436" cy="3118227"/>
            <a:chOff x="647564" y="2348880"/>
            <a:chExt cx="3924436" cy="3118227"/>
          </a:xfrm>
        </p:grpSpPr>
        <p:sp>
          <p:nvSpPr>
            <p:cNvPr id="3" name="Rechteck: abgerundete Ecken 2">
              <a:extLst>
                <a:ext uri="{FF2B5EF4-FFF2-40B4-BE49-F238E27FC236}">
                  <a16:creationId xmlns:a16="http://schemas.microsoft.com/office/drawing/2014/main" xmlns="" id="{4E234C8E-5F61-B671-BA25-92638E414E3F}"/>
                </a:ext>
              </a:extLst>
            </p:cNvPr>
            <p:cNvSpPr/>
            <p:nvPr/>
          </p:nvSpPr>
          <p:spPr>
            <a:xfrm>
              <a:off x="647564" y="2348880"/>
              <a:ext cx="3924436" cy="1080120"/>
            </a:xfrm>
            <a:prstGeom prst="round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400">
                  <a:solidFill>
                    <a:srgbClr val="0A296C"/>
                  </a:solidFill>
                </a:rPr>
                <a:t>Pfarrgemeinderat</a:t>
              </a:r>
            </a:p>
          </p:txBody>
        </p:sp>
        <p:sp>
          <p:nvSpPr>
            <p:cNvPr id="6" name="Rechteck 5">
              <a:extLst>
                <a:ext uri="{FF2B5EF4-FFF2-40B4-BE49-F238E27FC236}">
                  <a16:creationId xmlns:a16="http://schemas.microsoft.com/office/drawing/2014/main" xmlns="" id="{DF590E91-3AE4-F33C-D031-3A19D3636085}"/>
                </a:ext>
              </a:extLst>
            </p:cNvPr>
            <p:cNvSpPr/>
            <p:nvPr/>
          </p:nvSpPr>
          <p:spPr>
            <a:xfrm>
              <a:off x="1403648" y="4422991"/>
              <a:ext cx="2628292" cy="1044116"/>
            </a:xfrm>
            <a:prstGeom prst="rect">
              <a:avLst/>
            </a:prstGeom>
            <a:solidFill>
              <a:srgbClr val="F2F2F2"/>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200">
                  <a:solidFill>
                    <a:srgbClr val="0A296C"/>
                  </a:solidFill>
                </a:rPr>
                <a:t>Lokale Teams</a:t>
              </a:r>
            </a:p>
          </p:txBody>
        </p:sp>
        <p:sp>
          <p:nvSpPr>
            <p:cNvPr id="8" name="Pfeil: nach unten 7">
              <a:extLst>
                <a:ext uri="{FF2B5EF4-FFF2-40B4-BE49-F238E27FC236}">
                  <a16:creationId xmlns:a16="http://schemas.microsoft.com/office/drawing/2014/main" xmlns="" id="{6CA5692E-88B6-57AA-9FF6-D2DB6B1AC1B9}"/>
                </a:ext>
              </a:extLst>
            </p:cNvPr>
            <p:cNvSpPr/>
            <p:nvPr/>
          </p:nvSpPr>
          <p:spPr>
            <a:xfrm>
              <a:off x="2303748" y="3645024"/>
              <a:ext cx="396044" cy="540060"/>
            </a:xfrm>
            <a:prstGeom prst="downArrow">
              <a:avLst/>
            </a:prstGeom>
            <a:solidFill>
              <a:schemeClr val="tx1">
                <a:lumMod val="65000"/>
                <a:lumOff val="35000"/>
              </a:schemeClr>
            </a:solidFill>
            <a:ln>
              <a:solidFill>
                <a:srgbClr val="F2F2F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solidFill>
                  <a:srgbClr val="0A296C"/>
                </a:solidFill>
              </a:endParaRPr>
            </a:p>
          </p:txBody>
        </p:sp>
      </p:grpSp>
    </p:spTree>
    <p:extLst>
      <p:ext uri="{BB962C8B-B14F-4D97-AF65-F5344CB8AC3E}">
        <p14:creationId xmlns:p14="http://schemas.microsoft.com/office/powerpoint/2010/main" val="4128141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a:stretch>
            <a:fillRect/>
          </a:stretch>
        </p:blipFill>
        <p:spPr>
          <a:xfrm>
            <a:off x="109187" y="3911706"/>
            <a:ext cx="1085850" cy="878681"/>
          </a:xfrm>
          <a:prstGeom prst="rect">
            <a:avLst/>
          </a:prstGeom>
        </p:spPr>
      </p:pic>
      <p:pic>
        <p:nvPicPr>
          <p:cNvPr id="7" name="Inhaltsplatzhalter 6"/>
          <p:cNvPicPr>
            <a:picLocks noGrp="1" noChangeAspect="1"/>
          </p:cNvPicPr>
          <p:nvPr>
            <p:ph sz="half" idx="1"/>
          </p:nvPr>
        </p:nvPicPr>
        <p:blipFill rotWithShape="1">
          <a:blip r:embed="rId3"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75773" y="1283227"/>
            <a:ext cx="6654065" cy="4389061"/>
          </a:xfrm>
          <a:ln>
            <a:solidFill>
              <a:schemeClr val="bg1">
                <a:lumMod val="85000"/>
              </a:schemeClr>
            </a:solidFill>
          </a:ln>
        </p:spPr>
        <p:txBody>
          <a:bodyPr>
            <a:noAutofit/>
          </a:bodyPr>
          <a:lstStyle/>
          <a:p>
            <a:pPr>
              <a:lnSpc>
                <a:spcPct val="150000"/>
              </a:lnSpc>
            </a:pPr>
            <a:r>
              <a:rPr lang="de-DE" sz="1800" dirty="0">
                <a:latin typeface="Myriad Pro" panose="020B0503030403020204" pitchFamily="34" charset="0"/>
              </a:rPr>
              <a:t>Das </a:t>
            </a:r>
            <a:r>
              <a:rPr lang="de-DE" sz="1800" dirty="0">
                <a:solidFill>
                  <a:srgbClr val="C8242B"/>
                </a:solidFill>
                <a:latin typeface="Myriad Pro" panose="020B0503030403020204" pitchFamily="34" charset="0"/>
              </a:rPr>
              <a:t>lokale Team </a:t>
            </a:r>
            <a:r>
              <a:rPr lang="de-DE" sz="1800" dirty="0">
                <a:latin typeface="Myriad Pro" panose="020B0503030403020204" pitchFamily="34" charset="0"/>
              </a:rPr>
              <a:t>sorgt vor Ort…</a:t>
            </a:r>
          </a:p>
          <a:p>
            <a:pPr algn="just">
              <a:lnSpc>
                <a:spcPct val="150000"/>
              </a:lnSpc>
            </a:pPr>
            <a:endParaRPr lang="de-DE" dirty="0">
              <a:solidFill>
                <a:srgbClr val="C8242B"/>
              </a:solidFill>
              <a:latin typeface="Myriad Pro" panose="020B0503030403020204" pitchFamily="34" charset="0"/>
            </a:endParaRPr>
          </a:p>
          <a:p>
            <a:pPr>
              <a:lnSpc>
                <a:spcPct val="150000"/>
              </a:lnSpc>
              <a:buFontTx/>
              <a:buChar char="-"/>
            </a:pPr>
            <a:r>
              <a:rPr lang="de-DE" dirty="0">
                <a:latin typeface="Myriad Pro" panose="020B0503030403020204" pitchFamily="34" charset="0"/>
              </a:rPr>
              <a:t>wenn eine Pfarrei Mitglieder direkt in den Pfarreienrat gewählt hat</a:t>
            </a:r>
          </a:p>
          <a:p>
            <a:pPr>
              <a:lnSpc>
                <a:spcPct val="150000"/>
              </a:lnSpc>
              <a:buFontTx/>
              <a:buChar char="-"/>
            </a:pPr>
            <a:r>
              <a:rPr lang="de-DE" dirty="0">
                <a:latin typeface="Myriad Pro" panose="020B0503030403020204" pitchFamily="34" charset="0"/>
              </a:rPr>
              <a:t>wenn eine Pfarrei bereits fusioniert hat</a:t>
            </a:r>
          </a:p>
          <a:p>
            <a:pPr algn="just">
              <a:lnSpc>
                <a:spcPct val="150000"/>
              </a:lnSpc>
            </a:pPr>
            <a:endParaRPr lang="de-DE" dirty="0">
              <a:latin typeface="Myriad Pro" panose="020B0503030403020204" pitchFamily="34" charset="0"/>
            </a:endParaRPr>
          </a:p>
          <a:p>
            <a:pPr algn="just">
              <a:lnSpc>
                <a:spcPct val="150000"/>
              </a:lnSpc>
            </a:pPr>
            <a:r>
              <a:rPr lang="de-DE" dirty="0">
                <a:latin typeface="Myriad Pro" panose="020B0503030403020204" pitchFamily="34" charset="0"/>
              </a:rPr>
              <a:t>…für die Koordination der pastoralen und diakonischen Aufgaben in der Pfarrei bzw. eines „Pfarrbezirks“.</a:t>
            </a:r>
          </a:p>
          <a:p>
            <a:pPr>
              <a:lnSpc>
                <a:spcPct val="150000"/>
              </a:lnSpc>
            </a:pPr>
            <a:endParaRPr lang="de-DE" i="1" dirty="0">
              <a:solidFill>
                <a:srgbClr val="C8242B"/>
              </a:solidFill>
              <a:latin typeface="Myriad Pro" panose="020B0503030403020204" pitchFamily="34" charset="0"/>
            </a:endParaRPr>
          </a:p>
          <a:p>
            <a:pPr>
              <a:lnSpc>
                <a:spcPct val="150000"/>
              </a:lnSpc>
            </a:pPr>
            <a:r>
              <a:rPr lang="de-DE" i="1" dirty="0">
                <a:solidFill>
                  <a:srgbClr val="C8242B"/>
                </a:solidFill>
                <a:latin typeface="Myriad Pro" panose="020B0503030403020204" pitchFamily="34" charset="0"/>
              </a:rPr>
              <a:t>Ziel ist es, das gemeindliche Leben vor Ort aufrechtzuerhalten, zu fördern, weiterzuentwickeln und zu unterstützen. </a:t>
            </a:r>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pic>
        <p:nvPicPr>
          <p:cNvPr id="10" name="Grafik 9"/>
          <p:cNvPicPr>
            <a:picLocks noChangeAspect="1"/>
          </p:cNvPicPr>
          <p:nvPr/>
        </p:nvPicPr>
        <p:blipFill>
          <a:blip r:embed="rId2"/>
          <a:stretch>
            <a:fillRect/>
          </a:stretch>
        </p:blipFill>
        <p:spPr>
          <a:xfrm rot="7081454">
            <a:off x="953843" y="4790387"/>
            <a:ext cx="781562" cy="632448"/>
          </a:xfrm>
          <a:prstGeom prst="rect">
            <a:avLst/>
          </a:prstGeom>
        </p:spPr>
      </p:pic>
    </p:spTree>
    <p:extLst>
      <p:ext uri="{BB962C8B-B14F-4D97-AF65-F5344CB8AC3E}">
        <p14:creationId xmlns:p14="http://schemas.microsoft.com/office/powerpoint/2010/main" val="2367359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823862" y="4804825"/>
            <a:ext cx="1085850" cy="878681"/>
          </a:xfrm>
          <a:prstGeom prst="rect">
            <a:avLst/>
          </a:prstGeom>
        </p:spPr>
      </p:pic>
      <p:pic>
        <p:nvPicPr>
          <p:cNvPr id="7" name="Inhaltsplatzhalter 6"/>
          <p:cNvPicPr>
            <a:picLocks noGrp="1" noChangeAspect="1"/>
          </p:cNvPicPr>
          <p:nvPr>
            <p:ph sz="half" idx="1"/>
          </p:nvPr>
        </p:nvPicPr>
        <p:blipFill rotWithShape="1">
          <a:blip r:embed="rId3"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54116" y="1225477"/>
            <a:ext cx="6574907" cy="4454030"/>
          </a:xfrm>
          <a:ln>
            <a:solidFill>
              <a:schemeClr val="bg1">
                <a:lumMod val="85000"/>
              </a:schemeClr>
            </a:solidFill>
          </a:ln>
        </p:spPr>
        <p:txBody>
          <a:bodyPr>
            <a:normAutofit fontScale="32500" lnSpcReduction="20000"/>
          </a:bodyPr>
          <a:lstStyle/>
          <a:p>
            <a:endParaRPr lang="de-DE" sz="2850" i="1" dirty="0">
              <a:latin typeface="Myriad Pro" panose="020B0503030403020204" pitchFamily="34" charset="0"/>
            </a:endParaRPr>
          </a:p>
          <a:p>
            <a:r>
              <a:rPr lang="de-DE" sz="3825" dirty="0">
                <a:latin typeface="Myriad Pro" panose="020B0503030403020204" pitchFamily="34" charset="0"/>
              </a:rPr>
              <a:t>Merkmale eines </a:t>
            </a:r>
            <a:r>
              <a:rPr lang="de-DE" sz="3825" dirty="0">
                <a:solidFill>
                  <a:srgbClr val="C8242B"/>
                </a:solidFill>
                <a:latin typeface="Myriad Pro" panose="020B0503030403020204" pitchFamily="34" charset="0"/>
              </a:rPr>
              <a:t>lokalen Teams</a:t>
            </a:r>
            <a:r>
              <a:rPr lang="de-DE" sz="3825" dirty="0">
                <a:latin typeface="Myriad Pro" panose="020B0503030403020204" pitchFamily="34" charset="0"/>
              </a:rPr>
              <a:t>: </a:t>
            </a:r>
          </a:p>
          <a:p>
            <a:pPr algn="just">
              <a:lnSpc>
                <a:spcPct val="170000"/>
              </a:lnSpc>
              <a:buFont typeface="Symbol" panose="05050102010706020507" pitchFamily="18" charset="2"/>
              <a:buChar char="-"/>
            </a:pPr>
            <a:r>
              <a:rPr lang="de-DE" sz="3400" dirty="0">
                <a:latin typeface="Myriad Pro" panose="020B0503030403020204" pitchFamily="34" charset="0"/>
              </a:rPr>
              <a:t>Jedes Gemeindemitglied kann entsprechend seiner persönlichen Möglichkeiten mitarbeiten. </a:t>
            </a:r>
          </a:p>
          <a:p>
            <a:pPr algn="just">
              <a:lnSpc>
                <a:spcPct val="170000"/>
              </a:lnSpc>
              <a:buFont typeface="Symbol" panose="05050102010706020507" pitchFamily="18" charset="2"/>
              <a:buChar char="-"/>
            </a:pPr>
            <a:r>
              <a:rPr lang="de-DE" sz="3400" dirty="0">
                <a:latin typeface="Myriad Pro" panose="020B0503030403020204" pitchFamily="34" charset="0"/>
              </a:rPr>
              <a:t>Das Leben vor Ort mitgestalten, lokale Verantwortung übernehmen, ohne sich für 4 Jahre in einem Rat zu verpflichten. </a:t>
            </a:r>
          </a:p>
          <a:p>
            <a:pPr algn="just">
              <a:lnSpc>
                <a:spcPct val="170000"/>
              </a:lnSpc>
              <a:buFont typeface="Symbol" panose="05050102010706020507" pitchFamily="18" charset="2"/>
              <a:buChar char="-"/>
            </a:pPr>
            <a:r>
              <a:rPr lang="de-DE" sz="3400" dirty="0">
                <a:latin typeface="Myriad Pro" panose="020B0503030403020204" pitchFamily="34" charset="0"/>
              </a:rPr>
              <a:t>Vielfalt und unterschiedlichen Situationen wird dadurch Rechnung getragen, dass es keine verbindliche Ordnung für lokale Teams gibt. </a:t>
            </a:r>
          </a:p>
          <a:p>
            <a:pPr algn="just">
              <a:lnSpc>
                <a:spcPct val="170000"/>
              </a:lnSpc>
              <a:buFont typeface="Symbol" panose="05050102010706020507" pitchFamily="18" charset="2"/>
              <a:buChar char="-"/>
            </a:pPr>
            <a:r>
              <a:rPr lang="de-DE" sz="3400" dirty="0">
                <a:latin typeface="Myriad Pro" panose="020B0503030403020204" pitchFamily="34" charset="0"/>
              </a:rPr>
              <a:t>Mitglieder können selbstorganisiert die passende Form und Arbeitsweise beraten – angepasst an die pastorale Situation. </a:t>
            </a:r>
          </a:p>
          <a:p>
            <a:pPr algn="just">
              <a:lnSpc>
                <a:spcPct val="170000"/>
              </a:lnSpc>
              <a:buFont typeface="Symbol" panose="05050102010706020507" pitchFamily="18" charset="2"/>
              <a:buChar char="-"/>
            </a:pPr>
            <a:r>
              <a:rPr lang="de-DE" sz="3400" dirty="0">
                <a:latin typeface="Myriad Pro" panose="020B0503030403020204" pitchFamily="34" charset="0"/>
              </a:rPr>
              <a:t>Das lokale Team kann sich dazu entscheiden ein Ort von Kirche zu werden. In diesem Fall hätte es auch Stimmrecht in der Synodalversammlung des Pastoralen Raums. </a:t>
            </a:r>
            <a:endParaRPr lang="de-DE" sz="3400" i="1" dirty="0">
              <a:solidFill>
                <a:srgbClr val="C8242B"/>
              </a:solidFill>
              <a:latin typeface="Myriad Pro" panose="020B0503030403020204" pitchFamily="34" charset="0"/>
            </a:endParaRPr>
          </a:p>
          <a:p>
            <a:endParaRPr lang="de-DE" sz="2900" i="1" dirty="0">
              <a:solidFill>
                <a:srgbClr val="C8242B"/>
              </a:solidFill>
              <a:latin typeface="Myriad Pro" panose="020B0503030403020204" pitchFamily="34" charset="0"/>
            </a:endParaRPr>
          </a:p>
          <a:p>
            <a:pPr>
              <a:lnSpc>
                <a:spcPct val="120000"/>
              </a:lnSpc>
            </a:pPr>
            <a:r>
              <a:rPr lang="de-DE" sz="2900" i="1" dirty="0">
                <a:solidFill>
                  <a:srgbClr val="C8242B"/>
                </a:solidFill>
                <a:latin typeface="Myriad Pro" panose="020B0503030403020204" pitchFamily="34" charset="0"/>
              </a:rPr>
              <a:t>Das lokale Team übernimmt die Verantwortung dafür, dass das kirchliche Leben vor Ort lebendig bleibt. </a:t>
            </a:r>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spTree>
    <p:extLst>
      <p:ext uri="{BB962C8B-B14F-4D97-AF65-F5344CB8AC3E}">
        <p14:creationId xmlns:p14="http://schemas.microsoft.com/office/powerpoint/2010/main" val="27248019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rot="13073386">
            <a:off x="6736432" y="1298422"/>
            <a:ext cx="1003336" cy="596921"/>
          </a:xfrm>
          <a:prstGeom prst="rect">
            <a:avLst/>
          </a:prstGeom>
        </p:spPr>
      </p:pic>
      <p:pic>
        <p:nvPicPr>
          <p:cNvPr id="2" name="Grafik 1"/>
          <p:cNvPicPr>
            <a:picLocks noChangeAspect="1"/>
          </p:cNvPicPr>
          <p:nvPr/>
        </p:nvPicPr>
        <p:blipFill>
          <a:blip r:embed="rId3"/>
          <a:stretch>
            <a:fillRect/>
          </a:stretch>
        </p:blipFill>
        <p:spPr>
          <a:xfrm>
            <a:off x="7573578" y="1225477"/>
            <a:ext cx="1085850" cy="878681"/>
          </a:xfrm>
          <a:prstGeom prst="rect">
            <a:avLst/>
          </a:prstGeom>
        </p:spPr>
      </p:pic>
      <p:pic>
        <p:nvPicPr>
          <p:cNvPr id="7" name="Inhaltsplatzhalter 6"/>
          <p:cNvPicPr>
            <a:picLocks noGrp="1" noChangeAspect="1"/>
          </p:cNvPicPr>
          <p:nvPr>
            <p:ph sz="half" idx="1"/>
          </p:nvPr>
        </p:nvPicPr>
        <p:blipFill rotWithShape="1">
          <a:blip r:embed="rId4"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165082" y="1222612"/>
            <a:ext cx="6574907" cy="4454030"/>
          </a:xfrm>
          <a:ln>
            <a:solidFill>
              <a:schemeClr val="bg1">
                <a:lumMod val="85000"/>
              </a:schemeClr>
            </a:solidFill>
          </a:ln>
        </p:spPr>
        <p:txBody>
          <a:bodyPr>
            <a:normAutofit/>
          </a:bodyPr>
          <a:lstStyle/>
          <a:p>
            <a:pPr>
              <a:lnSpc>
                <a:spcPct val="150000"/>
              </a:lnSpc>
            </a:pPr>
            <a:r>
              <a:rPr lang="de-DE" sz="1800" dirty="0">
                <a:latin typeface="Myriad Pro" panose="020B0503030403020204" pitchFamily="34" charset="0"/>
              </a:rPr>
              <a:t>Bildung eines </a:t>
            </a:r>
            <a:r>
              <a:rPr lang="de-DE" sz="1800" dirty="0">
                <a:solidFill>
                  <a:srgbClr val="C8242B"/>
                </a:solidFill>
                <a:latin typeface="Myriad Pro" panose="020B0503030403020204" pitchFamily="34" charset="0"/>
              </a:rPr>
              <a:t>lokalen Teams</a:t>
            </a:r>
            <a:r>
              <a:rPr lang="de-DE" sz="1800" dirty="0">
                <a:latin typeface="Myriad Pro" panose="020B0503030403020204" pitchFamily="34" charset="0"/>
              </a:rPr>
              <a:t>: </a:t>
            </a:r>
          </a:p>
          <a:p>
            <a:pPr>
              <a:lnSpc>
                <a:spcPct val="150000"/>
              </a:lnSpc>
              <a:buFontTx/>
              <a:buChar char="-"/>
            </a:pPr>
            <a:r>
              <a:rPr lang="de-DE" dirty="0">
                <a:latin typeface="Myriad Pro" panose="020B0503030403020204" pitchFamily="34" charset="0"/>
              </a:rPr>
              <a:t>Mitglieder des Pfarreienrat und Pastoralteam können zu einer Pfarr- bzw. Gemeindeversammlung einladen. </a:t>
            </a:r>
          </a:p>
          <a:p>
            <a:pPr>
              <a:lnSpc>
                <a:spcPct val="150000"/>
              </a:lnSpc>
              <a:buFontTx/>
              <a:buChar char="-"/>
            </a:pPr>
            <a:r>
              <a:rPr lang="de-DE" dirty="0">
                <a:latin typeface="Myriad Pro" panose="020B0503030403020204" pitchFamily="34" charset="0"/>
              </a:rPr>
              <a:t>Mitglieder der verschiedenen Gruppierungen (z. Bsp.: Chöre, Frauengemeinschaften, Kommunionhelfer, Jugend,…) gezielt einladen, ebenso alle Interessierten aus der Pfarrei bzw. des Pfarrbezirks. </a:t>
            </a:r>
          </a:p>
          <a:p>
            <a:pPr>
              <a:lnSpc>
                <a:spcPct val="150000"/>
              </a:lnSpc>
              <a:buFontTx/>
              <a:buChar char="-"/>
            </a:pPr>
            <a:r>
              <a:rPr lang="de-DE" dirty="0">
                <a:latin typeface="Myriad Pro" panose="020B0503030403020204" pitchFamily="34" charset="0"/>
              </a:rPr>
              <a:t>Es sollte gemeinsam über die Arbeitsweise und Aufgaben des </a:t>
            </a:r>
            <a:r>
              <a:rPr lang="de-DE" dirty="0">
                <a:solidFill>
                  <a:srgbClr val="C8242B"/>
                </a:solidFill>
                <a:latin typeface="Myriad Pro" panose="020B0503030403020204" pitchFamily="34" charset="0"/>
              </a:rPr>
              <a:t>lokalen Teams </a:t>
            </a:r>
            <a:r>
              <a:rPr lang="de-DE" dirty="0">
                <a:latin typeface="Myriad Pro" panose="020B0503030403020204" pitchFamily="34" charset="0"/>
              </a:rPr>
              <a:t>beraten werden.</a:t>
            </a:r>
          </a:p>
          <a:p>
            <a:pPr>
              <a:lnSpc>
                <a:spcPct val="150000"/>
              </a:lnSpc>
              <a:buFontTx/>
              <a:buChar char="-"/>
            </a:pPr>
            <a:endParaRPr lang="de-DE" sz="1275" dirty="0">
              <a:latin typeface="Myriad Pro" panose="020B0503030403020204" pitchFamily="34" charset="0"/>
            </a:endParaRPr>
          </a:p>
          <a:p>
            <a:pPr>
              <a:lnSpc>
                <a:spcPct val="150000"/>
              </a:lnSpc>
            </a:pPr>
            <a:r>
              <a:rPr lang="de-DE" sz="1800" i="1" dirty="0">
                <a:solidFill>
                  <a:srgbClr val="C8242B"/>
                </a:solidFill>
                <a:latin typeface="Myriad Pro" panose="020B0503030403020204" pitchFamily="34" charset="0"/>
              </a:rPr>
              <a:t>Auf dieser Grundlage können sich dann Menschen bereit erklären, in diesem Team mitzuarbeiten.</a:t>
            </a:r>
          </a:p>
        </p:txBody>
      </p:sp>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spTree>
    <p:extLst>
      <p:ext uri="{BB962C8B-B14F-4D97-AF65-F5344CB8AC3E}">
        <p14:creationId xmlns:p14="http://schemas.microsoft.com/office/powerpoint/2010/main" val="14086458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rot="17922371">
            <a:off x="2892689" y="4874191"/>
            <a:ext cx="1085850" cy="878681"/>
          </a:xfrm>
          <a:prstGeom prst="rect">
            <a:avLst/>
          </a:prstGeom>
        </p:spPr>
      </p:pic>
      <p:pic>
        <p:nvPicPr>
          <p:cNvPr id="3" name="Grafik 2"/>
          <p:cNvPicPr>
            <a:picLocks noChangeAspect="1"/>
          </p:cNvPicPr>
          <p:nvPr/>
        </p:nvPicPr>
        <p:blipFill rotWithShape="1">
          <a:blip r:embed="rId3"/>
          <a:srcRect l="9431" t="-1" b="6001"/>
          <a:stretch/>
        </p:blipFill>
        <p:spPr>
          <a:xfrm rot="13645652">
            <a:off x="2275304" y="4876997"/>
            <a:ext cx="908714" cy="561105"/>
          </a:xfrm>
          <a:prstGeom prst="rect">
            <a:avLst/>
          </a:prstGeom>
        </p:spPr>
      </p:pic>
      <p:pic>
        <p:nvPicPr>
          <p:cNvPr id="7" name="Inhaltsplatzhalter 6"/>
          <p:cNvPicPr>
            <a:picLocks noGrp="1" noChangeAspect="1"/>
          </p:cNvPicPr>
          <p:nvPr>
            <p:ph sz="half" idx="1"/>
          </p:nvPr>
        </p:nvPicPr>
        <p:blipFill rotWithShape="1">
          <a:blip r:embed="rId4" cstate="print">
            <a:grayscl/>
            <a:extLst>
              <a:ext uri="{28A0092B-C50C-407E-A947-70E740481C1C}">
                <a14:useLocalDpi xmlns:a14="http://schemas.microsoft.com/office/drawing/2010/main" val="0"/>
              </a:ext>
            </a:extLst>
          </a:blip>
          <a:srcRect l="16888" r="33514"/>
          <a:stretch/>
        </p:blipFill>
        <p:spPr>
          <a:xfrm>
            <a:off x="287524" y="1806023"/>
            <a:ext cx="1765789" cy="2376071"/>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165082" y="1227917"/>
            <a:ext cx="6574907" cy="5207828"/>
          </a:xfrm>
          <a:ln>
            <a:solidFill>
              <a:schemeClr val="bg1">
                <a:lumMod val="85000"/>
              </a:schemeClr>
            </a:solidFill>
          </a:ln>
        </p:spPr>
        <p:txBody>
          <a:bodyPr>
            <a:normAutofit/>
          </a:bodyPr>
          <a:lstStyle/>
          <a:p>
            <a:pPr>
              <a:lnSpc>
                <a:spcPct val="150000"/>
              </a:lnSpc>
            </a:pPr>
            <a:r>
              <a:rPr lang="de-DE" sz="1800" dirty="0">
                <a:latin typeface="Myriad Pro" panose="020B0503030403020204" pitchFamily="34" charset="0"/>
              </a:rPr>
              <a:t>Mögliche Aufgaben eines </a:t>
            </a:r>
            <a:r>
              <a:rPr lang="de-DE" sz="1800" dirty="0">
                <a:solidFill>
                  <a:srgbClr val="C8242B"/>
                </a:solidFill>
                <a:latin typeface="Myriad Pro" panose="020B0503030403020204" pitchFamily="34" charset="0"/>
              </a:rPr>
              <a:t>lokalen Teams</a:t>
            </a:r>
            <a:r>
              <a:rPr lang="de-DE" sz="1800" dirty="0">
                <a:latin typeface="Myriad Pro" panose="020B0503030403020204" pitchFamily="34" charset="0"/>
              </a:rPr>
              <a:t>: </a:t>
            </a:r>
          </a:p>
          <a:p>
            <a:pPr>
              <a:lnSpc>
                <a:spcPct val="150000"/>
              </a:lnSpc>
            </a:pPr>
            <a:endParaRPr lang="de-DE" sz="750" dirty="0">
              <a:latin typeface="Myriad Pro" panose="020B0503030403020204" pitchFamily="34" charset="0"/>
            </a:endParaRPr>
          </a:p>
          <a:p>
            <a:pPr>
              <a:lnSpc>
                <a:spcPct val="150000"/>
              </a:lnSpc>
              <a:buFontTx/>
              <a:buChar char="-"/>
            </a:pPr>
            <a:r>
              <a:rPr lang="de-DE" dirty="0">
                <a:latin typeface="Myriad Pro" panose="020B0503030403020204" pitchFamily="34" charset="0"/>
              </a:rPr>
              <a:t>Förderung und Pflege des kirchlichen Lebens, Traditionen und Brauchtums vor Ort</a:t>
            </a:r>
          </a:p>
          <a:p>
            <a:pPr>
              <a:lnSpc>
                <a:spcPct val="150000"/>
              </a:lnSpc>
              <a:buFontTx/>
              <a:buChar char="-"/>
            </a:pPr>
            <a:r>
              <a:rPr lang="de-DE" dirty="0">
                <a:latin typeface="Myriad Pro" panose="020B0503030403020204" pitchFamily="34" charset="0"/>
              </a:rPr>
              <a:t>Vernetzung zu Vereinen und Institutionen</a:t>
            </a:r>
          </a:p>
          <a:p>
            <a:pPr>
              <a:lnSpc>
                <a:spcPct val="150000"/>
              </a:lnSpc>
              <a:buFontTx/>
              <a:buChar char="-"/>
            </a:pPr>
            <a:r>
              <a:rPr lang="de-DE" dirty="0">
                <a:latin typeface="Myriad Pro" panose="020B0503030403020204" pitchFamily="34" charset="0"/>
              </a:rPr>
              <a:t>Initiierung örtlicher Projekte entsprechend der Bedarfe und Gegebenheiten</a:t>
            </a:r>
          </a:p>
          <a:p>
            <a:pPr>
              <a:lnSpc>
                <a:spcPct val="150000"/>
              </a:lnSpc>
              <a:buFontTx/>
              <a:buChar char="-"/>
            </a:pPr>
            <a:r>
              <a:rPr lang="de-DE" dirty="0">
                <a:latin typeface="Myriad Pro" panose="020B0503030403020204" pitchFamily="34" charset="0"/>
              </a:rPr>
              <a:t>Koordination der Termine und Veranstaltungen mit dem „Pfarreienrat Direkt“ bzw. dem Pfarrgemeinderat und den Vereinen und Institutionen</a:t>
            </a:r>
          </a:p>
          <a:p>
            <a:pPr>
              <a:lnSpc>
                <a:spcPct val="150000"/>
              </a:lnSpc>
              <a:buFontTx/>
              <a:buChar char="-"/>
            </a:pPr>
            <a:r>
              <a:rPr lang="de-DE" dirty="0">
                <a:latin typeface="Myriad Pro" panose="020B0503030403020204" pitchFamily="34" charset="0"/>
              </a:rPr>
              <a:t>Motivation der Menschen zur Mitarbeit</a:t>
            </a:r>
          </a:p>
          <a:p>
            <a:pPr>
              <a:lnSpc>
                <a:spcPct val="150000"/>
              </a:lnSpc>
              <a:buFontTx/>
              <a:buChar char="-"/>
            </a:pPr>
            <a:r>
              <a:rPr lang="de-DE" dirty="0">
                <a:latin typeface="Myriad Pro" panose="020B0503030403020204" pitchFamily="34" charset="0"/>
              </a:rPr>
              <a:t>Ansprechpartner sein für die Anliegen der Menschen vor Ort</a:t>
            </a:r>
          </a:p>
          <a:p>
            <a:pPr>
              <a:lnSpc>
                <a:spcPct val="150000"/>
              </a:lnSpc>
              <a:buFontTx/>
              <a:buChar char="-"/>
            </a:pPr>
            <a:endParaRPr lang="de-DE" sz="1275" dirty="0">
              <a:latin typeface="Myriad Pro" panose="020B0503030403020204" pitchFamily="34" charset="0"/>
            </a:endParaRPr>
          </a:p>
        </p:txBody>
      </p:sp>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spTree>
    <p:extLst>
      <p:ext uri="{BB962C8B-B14F-4D97-AF65-F5344CB8AC3E}">
        <p14:creationId xmlns:p14="http://schemas.microsoft.com/office/powerpoint/2010/main" val="24581358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541422" y="4975365"/>
            <a:ext cx="905843" cy="733018"/>
          </a:xfrm>
          <a:prstGeom prst="rect">
            <a:avLst/>
          </a:prstGeom>
        </p:spPr>
      </p:pic>
      <p:pic>
        <p:nvPicPr>
          <p:cNvPr id="7" name="Inhaltsplatzhalter 6"/>
          <p:cNvPicPr>
            <a:picLocks noGrp="1" noChangeAspect="1"/>
          </p:cNvPicPr>
          <p:nvPr>
            <p:ph sz="half" idx="1"/>
          </p:nvPr>
        </p:nvPicPr>
        <p:blipFill rotWithShape="1">
          <a:blip r:embed="rId3"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54116" y="1254353"/>
            <a:ext cx="6574907" cy="4389059"/>
          </a:xfrm>
          <a:ln>
            <a:solidFill>
              <a:schemeClr val="bg1">
                <a:lumMod val="85000"/>
              </a:schemeClr>
            </a:solidFill>
          </a:ln>
        </p:spPr>
        <p:txBody>
          <a:bodyPr>
            <a:normAutofit/>
          </a:bodyPr>
          <a:lstStyle/>
          <a:p>
            <a:pPr>
              <a:lnSpc>
                <a:spcPct val="150000"/>
              </a:lnSpc>
            </a:pPr>
            <a:r>
              <a:rPr lang="de-DE" sz="1400" dirty="0">
                <a:latin typeface="Myriad Pro" panose="020B0503030403020204" pitchFamily="34" charset="0"/>
              </a:rPr>
              <a:t>Anzahl der </a:t>
            </a:r>
            <a:r>
              <a:rPr lang="de-DE" sz="1400" dirty="0">
                <a:solidFill>
                  <a:srgbClr val="C8242B"/>
                </a:solidFill>
                <a:latin typeface="Myriad Pro" panose="020B0503030403020204" pitchFamily="34" charset="0"/>
              </a:rPr>
              <a:t>Mitglieder</a:t>
            </a:r>
            <a:r>
              <a:rPr lang="de-DE" sz="1400" dirty="0">
                <a:latin typeface="Myriad Pro" panose="020B0503030403020204" pitchFamily="34" charset="0"/>
              </a:rPr>
              <a:t>:</a:t>
            </a:r>
          </a:p>
          <a:p>
            <a:pPr>
              <a:lnSpc>
                <a:spcPct val="150000"/>
              </a:lnSpc>
            </a:pPr>
            <a:r>
              <a:rPr lang="de-DE" sz="1400" dirty="0">
                <a:latin typeface="Myriad Pro" panose="020B0503030403020204" pitchFamily="34" charset="0"/>
              </a:rPr>
              <a:t>	Die Größe wird sich aufgrund derer finden, die mitarbeiten möchten.</a:t>
            </a:r>
          </a:p>
          <a:p>
            <a:pPr>
              <a:lnSpc>
                <a:spcPct val="150000"/>
              </a:lnSpc>
            </a:pPr>
            <a:r>
              <a:rPr lang="de-DE" sz="1400" dirty="0">
                <a:latin typeface="Myriad Pro" panose="020B0503030403020204" pitchFamily="34" charset="0"/>
              </a:rPr>
              <a:t>	Es sollten nicht weniger als drei Personen sein. </a:t>
            </a:r>
          </a:p>
          <a:p>
            <a:pPr>
              <a:lnSpc>
                <a:spcPct val="150000"/>
              </a:lnSpc>
            </a:pPr>
            <a:r>
              <a:rPr lang="de-DE" sz="1400" dirty="0">
                <a:latin typeface="Myriad Pro" panose="020B0503030403020204" pitchFamily="34" charset="0"/>
              </a:rPr>
              <a:t>	Neue Mitglieder sollen jederzeit hinzukommen können, bzw. Mitglieder sollen sich jederzeit verabschieden dürfen. </a:t>
            </a:r>
          </a:p>
          <a:p>
            <a:pPr>
              <a:lnSpc>
                <a:spcPct val="150000"/>
              </a:lnSpc>
            </a:pPr>
            <a:endParaRPr lang="de-DE" sz="1400" dirty="0">
              <a:latin typeface="Myriad Pro" panose="020B0503030403020204" pitchFamily="34" charset="0"/>
            </a:endParaRPr>
          </a:p>
          <a:p>
            <a:pPr>
              <a:lnSpc>
                <a:spcPct val="150000"/>
              </a:lnSpc>
            </a:pPr>
            <a:r>
              <a:rPr lang="de-DE" sz="1400" dirty="0">
                <a:latin typeface="Myriad Pro" panose="020B0503030403020204" pitchFamily="34" charset="0"/>
              </a:rPr>
              <a:t>Dauer der </a:t>
            </a:r>
            <a:r>
              <a:rPr lang="de-DE" sz="1400" dirty="0">
                <a:solidFill>
                  <a:srgbClr val="C8242B"/>
                </a:solidFill>
                <a:latin typeface="Myriad Pro" panose="020B0503030403020204" pitchFamily="34" charset="0"/>
              </a:rPr>
              <a:t>Zusammenarbeit:</a:t>
            </a:r>
          </a:p>
          <a:p>
            <a:pPr>
              <a:lnSpc>
                <a:spcPct val="150000"/>
              </a:lnSpc>
            </a:pPr>
            <a:r>
              <a:rPr lang="de-DE" sz="1400" dirty="0">
                <a:latin typeface="Myriad Pro" panose="020B0503030403020204" pitchFamily="34" charset="0"/>
              </a:rPr>
              <a:t>	Die Dauer wird vor Ort vereinbart, sollte aber sinnvollerweise ein Jahr nicht 	unterschreiten. </a:t>
            </a:r>
          </a:p>
          <a:p>
            <a:pPr>
              <a:lnSpc>
                <a:spcPct val="150000"/>
              </a:lnSpc>
            </a:pPr>
            <a:r>
              <a:rPr lang="de-DE" sz="1400" dirty="0">
                <a:latin typeface="Myriad Pro" panose="020B0503030403020204" pitchFamily="34" charset="0"/>
              </a:rPr>
              <a:t>	Durch eine gemeinsame Reflexion sollten die Vereinbarungen gegen Ende der 	gemeinsamen Zeit überprüft werden. </a:t>
            </a:r>
          </a:p>
          <a:p>
            <a:endParaRPr lang="de-DE" sz="1275" dirty="0">
              <a:latin typeface="Myriad Pro" panose="020B0503030403020204" pitchFamily="34" charset="0"/>
            </a:endParaRPr>
          </a:p>
          <a:p>
            <a:endParaRPr lang="de-DE" sz="1275" dirty="0">
              <a:latin typeface="Myriad Pro" panose="020B0503030403020204" pitchFamily="34" charset="0"/>
            </a:endParaRPr>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spTree>
    <p:extLst>
      <p:ext uri="{BB962C8B-B14F-4D97-AF65-F5344CB8AC3E}">
        <p14:creationId xmlns:p14="http://schemas.microsoft.com/office/powerpoint/2010/main" val="246493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541422" y="4975365"/>
            <a:ext cx="905843" cy="733018"/>
          </a:xfrm>
          <a:prstGeom prst="rect">
            <a:avLst/>
          </a:prstGeom>
        </p:spPr>
      </p:pic>
      <p:pic>
        <p:nvPicPr>
          <p:cNvPr id="7" name="Inhaltsplatzhalter 6"/>
          <p:cNvPicPr>
            <a:picLocks noGrp="1" noChangeAspect="1"/>
          </p:cNvPicPr>
          <p:nvPr>
            <p:ph sz="half" idx="1"/>
          </p:nvPr>
        </p:nvPicPr>
        <p:blipFill rotWithShape="1">
          <a:blip r:embed="rId3"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54116" y="1254353"/>
            <a:ext cx="6574907" cy="4454030"/>
          </a:xfrm>
          <a:ln>
            <a:solidFill>
              <a:schemeClr val="bg1">
                <a:lumMod val="85000"/>
              </a:schemeClr>
            </a:solidFill>
          </a:ln>
        </p:spPr>
        <p:txBody>
          <a:bodyPr>
            <a:normAutofit/>
          </a:bodyPr>
          <a:lstStyle/>
          <a:p>
            <a:pPr>
              <a:lnSpc>
                <a:spcPct val="150000"/>
              </a:lnSpc>
            </a:pPr>
            <a:r>
              <a:rPr lang="de-DE" sz="1800">
                <a:solidFill>
                  <a:srgbClr val="C8242B"/>
                </a:solidFill>
                <a:latin typeface="Myriad Pro" panose="020B0503030403020204" pitchFamily="34" charset="0"/>
              </a:rPr>
              <a:t>Koordination</a:t>
            </a:r>
            <a:r>
              <a:rPr lang="de-DE" sz="1800">
                <a:latin typeface="Myriad Pro" panose="020B0503030403020204" pitchFamily="34" charset="0"/>
              </a:rPr>
              <a:t>:</a:t>
            </a:r>
          </a:p>
          <a:p>
            <a:pPr>
              <a:lnSpc>
                <a:spcPct val="150000"/>
              </a:lnSpc>
            </a:pPr>
            <a:r>
              <a:rPr lang="de-DE" sz="1275">
                <a:latin typeface="Myriad Pro" panose="020B0503030403020204" pitchFamily="34" charset="0"/>
              </a:rPr>
              <a:t>	Bei größeren </a:t>
            </a:r>
            <a:r>
              <a:rPr lang="de-DE" sz="1275">
                <a:solidFill>
                  <a:srgbClr val="C8242B"/>
                </a:solidFill>
                <a:latin typeface="Myriad Pro" panose="020B0503030403020204" pitchFamily="34" charset="0"/>
              </a:rPr>
              <a:t>lokalen Teams </a:t>
            </a:r>
            <a:r>
              <a:rPr lang="de-DE" sz="1275">
                <a:latin typeface="Myriad Pro" panose="020B0503030403020204" pitchFamily="34" charset="0"/>
              </a:rPr>
              <a:t>(mehr als 5 Personen) könnte es sinnvoll sein, das ein 	Mitglied die Koordination übernimmt. </a:t>
            </a:r>
          </a:p>
          <a:p>
            <a:pPr>
              <a:lnSpc>
                <a:spcPct val="150000"/>
              </a:lnSpc>
            </a:pPr>
            <a:endParaRPr lang="de-DE" sz="750">
              <a:latin typeface="Myriad Pro" panose="020B0503030403020204" pitchFamily="34" charset="0"/>
            </a:endParaRPr>
          </a:p>
          <a:p>
            <a:pPr>
              <a:lnSpc>
                <a:spcPct val="150000"/>
              </a:lnSpc>
            </a:pPr>
            <a:r>
              <a:rPr lang="de-DE" sz="1800">
                <a:solidFill>
                  <a:srgbClr val="C8242B"/>
                </a:solidFill>
                <a:latin typeface="Myriad Pro" panose="020B0503030403020204" pitchFamily="34" charset="0"/>
              </a:rPr>
              <a:t>Vernetzung</a:t>
            </a:r>
            <a:r>
              <a:rPr lang="de-DE" sz="1800">
                <a:latin typeface="Myriad Pro" panose="020B0503030403020204" pitchFamily="34" charset="0"/>
              </a:rPr>
              <a:t> zum Pfarreinrat bzw. Pfarrgemeinderat:</a:t>
            </a:r>
            <a:endParaRPr lang="de-DE" sz="1275">
              <a:latin typeface="Myriad Pro" panose="020B0503030403020204" pitchFamily="34" charset="0"/>
            </a:endParaRPr>
          </a:p>
          <a:p>
            <a:pPr>
              <a:lnSpc>
                <a:spcPct val="150000"/>
              </a:lnSpc>
            </a:pPr>
            <a:r>
              <a:rPr lang="de-DE" sz="1275">
                <a:latin typeface="Myriad Pro" panose="020B0503030403020204" pitchFamily="34" charset="0"/>
              </a:rPr>
              <a:t>	Für jedes </a:t>
            </a:r>
            <a:r>
              <a:rPr lang="de-DE" sz="1275">
                <a:solidFill>
                  <a:srgbClr val="C8242B"/>
                </a:solidFill>
                <a:latin typeface="Myriad Pro" panose="020B0503030403020204" pitchFamily="34" charset="0"/>
              </a:rPr>
              <a:t>lokale Team </a:t>
            </a:r>
            <a:r>
              <a:rPr lang="de-DE" sz="1275">
                <a:latin typeface="Myriad Pro" panose="020B0503030403020204" pitchFamily="34" charset="0"/>
              </a:rPr>
              <a:t>sollte ein/e  Ansprechpartner: in aus Pfarreienrat oder 	Pfarrgemeinderat benannt werden. </a:t>
            </a:r>
          </a:p>
          <a:p>
            <a:pPr>
              <a:lnSpc>
                <a:spcPct val="150000"/>
              </a:lnSpc>
            </a:pPr>
            <a:r>
              <a:rPr lang="de-DE" sz="1275">
                <a:latin typeface="Myriad Pro" panose="020B0503030403020204" pitchFamily="34" charset="0"/>
              </a:rPr>
              <a:t>	Planung von Veranstaltungen in der Pfarreiengemeinschaft können so sinnvoll 	aufeinander abgestimmt werden.</a:t>
            </a:r>
          </a:p>
          <a:p>
            <a:pPr>
              <a:lnSpc>
                <a:spcPct val="150000"/>
              </a:lnSpc>
            </a:pPr>
            <a:r>
              <a:rPr lang="de-DE" sz="1275">
                <a:latin typeface="Myriad Pro" panose="020B0503030403020204" pitchFamily="34" charset="0"/>
              </a:rPr>
              <a:t>	Es kann erforderlich sein, dass dem lokalen Team ein Budget zur Erfüllung seiner 	Aufgaben zur Verfügung gestellt werden muss.</a:t>
            </a:r>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spTree>
    <p:extLst>
      <p:ext uri="{BB962C8B-B14F-4D97-AF65-F5344CB8AC3E}">
        <p14:creationId xmlns:p14="http://schemas.microsoft.com/office/powerpoint/2010/main" val="25898247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5650437" y="4679877"/>
            <a:ext cx="905843" cy="733018"/>
          </a:xfrm>
          <a:prstGeom prst="rect">
            <a:avLst/>
          </a:prstGeom>
        </p:spPr>
      </p:pic>
      <p:pic>
        <p:nvPicPr>
          <p:cNvPr id="7" name="Inhaltsplatzhalter 6"/>
          <p:cNvPicPr>
            <a:picLocks noGrp="1" noChangeAspect="1"/>
          </p:cNvPicPr>
          <p:nvPr>
            <p:ph sz="half" idx="1"/>
          </p:nvPr>
        </p:nvPicPr>
        <p:blipFill rotWithShape="1">
          <a:blip r:embed="rId3"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54116" y="1254353"/>
            <a:ext cx="6574907" cy="4454030"/>
          </a:xfrm>
          <a:ln>
            <a:solidFill>
              <a:schemeClr val="bg1">
                <a:lumMod val="85000"/>
              </a:schemeClr>
            </a:solidFill>
          </a:ln>
        </p:spPr>
        <p:txBody>
          <a:bodyPr>
            <a:normAutofit/>
          </a:bodyPr>
          <a:lstStyle/>
          <a:p>
            <a:pPr>
              <a:lnSpc>
                <a:spcPct val="150000"/>
              </a:lnSpc>
            </a:pPr>
            <a:r>
              <a:rPr lang="de-DE" sz="1800">
                <a:solidFill>
                  <a:srgbClr val="C8242B"/>
                </a:solidFill>
                <a:latin typeface="Myriad Pro" panose="020B0503030403020204" pitchFamily="34" charset="0"/>
              </a:rPr>
              <a:t>Ansprechpartner: in </a:t>
            </a:r>
            <a:r>
              <a:rPr lang="de-DE" sz="1800">
                <a:latin typeface="Myriad Pro" panose="020B0503030403020204" pitchFamily="34" charset="0"/>
              </a:rPr>
              <a:t>im Seelsorgeteam:</a:t>
            </a:r>
          </a:p>
          <a:p>
            <a:pPr>
              <a:lnSpc>
                <a:spcPct val="150000"/>
              </a:lnSpc>
            </a:pPr>
            <a:r>
              <a:rPr lang="de-DE" sz="1275">
                <a:latin typeface="Myriad Pro" panose="020B0503030403020204" pitchFamily="34" charset="0"/>
              </a:rPr>
              <a:t>	Aus dem Seelsorgeteam sollte eine Person benannt werden, die Ansprechperson für 	das lokale Team ist. </a:t>
            </a:r>
          </a:p>
          <a:p>
            <a:pPr>
              <a:lnSpc>
                <a:spcPct val="150000"/>
              </a:lnSpc>
            </a:pPr>
            <a:endParaRPr lang="de-DE" sz="750">
              <a:latin typeface="Myriad Pro" panose="020B0503030403020204" pitchFamily="34" charset="0"/>
            </a:endParaRPr>
          </a:p>
          <a:p>
            <a:pPr>
              <a:lnSpc>
                <a:spcPct val="150000"/>
              </a:lnSpc>
            </a:pPr>
            <a:r>
              <a:rPr lang="de-DE" sz="1800">
                <a:solidFill>
                  <a:srgbClr val="C8242B"/>
                </a:solidFill>
                <a:latin typeface="Myriad Pro" panose="020B0503030403020204" pitchFamily="34" charset="0"/>
              </a:rPr>
              <a:t>Häufigkeit </a:t>
            </a:r>
            <a:r>
              <a:rPr lang="de-DE" sz="1800">
                <a:latin typeface="Myriad Pro" panose="020B0503030403020204" pitchFamily="34" charset="0"/>
              </a:rPr>
              <a:t>der Treffen:</a:t>
            </a:r>
            <a:endParaRPr lang="de-DE" sz="1275">
              <a:latin typeface="Myriad Pro" panose="020B0503030403020204" pitchFamily="34" charset="0"/>
            </a:endParaRPr>
          </a:p>
          <a:p>
            <a:pPr>
              <a:lnSpc>
                <a:spcPct val="150000"/>
              </a:lnSpc>
            </a:pPr>
            <a:r>
              <a:rPr lang="de-DE" sz="1275">
                <a:latin typeface="Myriad Pro" panose="020B0503030403020204" pitchFamily="34" charset="0"/>
              </a:rPr>
              <a:t>	Zwei Treffen im Jahr sind sinnvoll. Bei Bedarf kann es aber auch häufigere Treffen 	geben.  (z. Bsp. für die Vorbereitung von Pfarrfesten etc.)</a:t>
            </a:r>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pic>
        <p:nvPicPr>
          <p:cNvPr id="9" name="Grafik 8"/>
          <p:cNvPicPr>
            <a:picLocks noChangeAspect="1"/>
          </p:cNvPicPr>
          <p:nvPr/>
        </p:nvPicPr>
        <p:blipFill>
          <a:blip r:embed="rId2"/>
          <a:stretch>
            <a:fillRect/>
          </a:stretch>
        </p:blipFill>
        <p:spPr>
          <a:xfrm rot="18481519">
            <a:off x="6343684" y="4460274"/>
            <a:ext cx="542760" cy="439207"/>
          </a:xfrm>
          <a:prstGeom prst="rect">
            <a:avLst/>
          </a:prstGeom>
        </p:spPr>
      </p:pic>
    </p:spTree>
    <p:extLst>
      <p:ext uri="{BB962C8B-B14F-4D97-AF65-F5344CB8AC3E}">
        <p14:creationId xmlns:p14="http://schemas.microsoft.com/office/powerpoint/2010/main" val="2297029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rotWithShape="1">
          <a:blip r:embed="rId2"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44490" y="1236275"/>
            <a:ext cx="6574907" cy="4454030"/>
          </a:xfrm>
          <a:ln>
            <a:solidFill>
              <a:schemeClr val="bg1">
                <a:lumMod val="85000"/>
              </a:schemeClr>
            </a:solidFill>
          </a:ln>
        </p:spPr>
        <p:txBody>
          <a:bodyPr>
            <a:normAutofit/>
          </a:bodyPr>
          <a:lstStyle/>
          <a:p>
            <a:pPr>
              <a:lnSpc>
                <a:spcPct val="150000"/>
              </a:lnSpc>
            </a:pPr>
            <a:r>
              <a:rPr lang="de-DE" sz="1800">
                <a:solidFill>
                  <a:srgbClr val="C8242B"/>
                </a:solidFill>
                <a:latin typeface="Myriad Pro" panose="020B0503030403020204" pitchFamily="34" charset="0"/>
              </a:rPr>
              <a:t>Information </a:t>
            </a:r>
            <a:r>
              <a:rPr lang="de-DE" sz="1800">
                <a:latin typeface="Myriad Pro" panose="020B0503030403020204" pitchFamily="34" charset="0"/>
              </a:rPr>
              <a:t>über die Arbeit:</a:t>
            </a:r>
          </a:p>
          <a:p>
            <a:pPr>
              <a:lnSpc>
                <a:spcPct val="150000"/>
              </a:lnSpc>
            </a:pPr>
            <a:r>
              <a:rPr lang="de-DE" sz="1275">
                <a:latin typeface="Myriad Pro" panose="020B0503030403020204" pitchFamily="34" charset="0"/>
              </a:rPr>
              <a:t>	Das </a:t>
            </a:r>
            <a:r>
              <a:rPr lang="de-DE" sz="1275">
                <a:solidFill>
                  <a:srgbClr val="C00000"/>
                </a:solidFill>
                <a:latin typeface="Myriad Pro" panose="020B0503030403020204" pitchFamily="34" charset="0"/>
              </a:rPr>
              <a:t>lokale Team </a:t>
            </a:r>
            <a:r>
              <a:rPr lang="de-DE" sz="1275">
                <a:latin typeface="Myriad Pro" panose="020B0503030403020204" pitchFamily="34" charset="0"/>
              </a:rPr>
              <a:t>sollte über die Ergebnisse einer Sitzung informieren. </a:t>
            </a:r>
          </a:p>
          <a:p>
            <a:pPr>
              <a:lnSpc>
                <a:spcPct val="150000"/>
              </a:lnSpc>
            </a:pPr>
            <a:endParaRPr lang="de-DE" sz="750">
              <a:latin typeface="Myriad Pro" panose="020B0503030403020204" pitchFamily="34" charset="0"/>
            </a:endParaRPr>
          </a:p>
          <a:p>
            <a:pPr>
              <a:lnSpc>
                <a:spcPct val="150000"/>
              </a:lnSpc>
            </a:pPr>
            <a:r>
              <a:rPr lang="de-DE" sz="1800">
                <a:solidFill>
                  <a:srgbClr val="C8242B"/>
                </a:solidFill>
                <a:latin typeface="Myriad Pro" panose="020B0503030403020204" pitchFamily="34" charset="0"/>
              </a:rPr>
              <a:t>Bekanntmachung und Beauftragung </a:t>
            </a:r>
            <a:r>
              <a:rPr lang="de-DE" sz="1800">
                <a:latin typeface="Myriad Pro" panose="020B0503030403020204" pitchFamily="34" charset="0"/>
              </a:rPr>
              <a:t>des lokalen Teams:</a:t>
            </a:r>
          </a:p>
          <a:p>
            <a:pPr>
              <a:lnSpc>
                <a:spcPct val="150000"/>
              </a:lnSpc>
            </a:pPr>
            <a:r>
              <a:rPr lang="de-DE" sz="1800">
                <a:latin typeface="Myriad Pro" panose="020B0503030403020204" pitchFamily="34" charset="0"/>
              </a:rPr>
              <a:t>	</a:t>
            </a:r>
            <a:r>
              <a:rPr lang="de-DE" sz="1275">
                <a:latin typeface="Myriad Pro" panose="020B0503030403020204" pitchFamily="34" charset="0"/>
              </a:rPr>
              <a:t>Je nach örtlicher Gegebenheit kann es sinnvoll sein, dass eine Beauftragung zum 	Dienst ausgesprochen wird. Dies kann vom Pfarrer oder vom Vorstand des 	Pfarreienrates oder des Pfarrgemeinderates übernommen werden.</a:t>
            </a:r>
          </a:p>
          <a:p>
            <a:pPr>
              <a:lnSpc>
                <a:spcPct val="150000"/>
              </a:lnSpc>
            </a:pPr>
            <a:endParaRPr lang="de-DE" sz="750">
              <a:solidFill>
                <a:srgbClr val="C8242B"/>
              </a:solidFill>
              <a:latin typeface="Myriad Pro" panose="020B0503030403020204" pitchFamily="34" charset="0"/>
            </a:endParaRPr>
          </a:p>
          <a:p>
            <a:pPr>
              <a:lnSpc>
                <a:spcPct val="150000"/>
              </a:lnSpc>
            </a:pPr>
            <a:r>
              <a:rPr lang="de-DE" sz="1800">
                <a:solidFill>
                  <a:srgbClr val="C8242B"/>
                </a:solidFill>
                <a:latin typeface="Myriad Pro" panose="020B0503030403020204" pitchFamily="34" charset="0"/>
              </a:rPr>
              <a:t>Unterstützung:</a:t>
            </a:r>
          </a:p>
          <a:p>
            <a:pPr>
              <a:lnSpc>
                <a:spcPct val="150000"/>
              </a:lnSpc>
            </a:pPr>
            <a:r>
              <a:rPr lang="de-DE" sz="1275">
                <a:latin typeface="Myriad Pro" panose="020B0503030403020204" pitchFamily="34" charset="0"/>
              </a:rPr>
              <a:t>	Der Arbeitsbereich Ehrenamtsentwicklung im Bischöflichen Generalvikariat Trier 	unterstützt die Arbeit der lokalen Teams mit Qualifizierungsangeboten und 	Beratungsformaten. </a:t>
            </a:r>
          </a:p>
          <a:p>
            <a:pPr>
              <a:lnSpc>
                <a:spcPct val="150000"/>
              </a:lnSpc>
            </a:pPr>
            <a:endParaRPr lang="de-DE" sz="1275">
              <a:latin typeface="Myriad Pro" panose="020B0503030403020204" pitchFamily="34"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pic>
        <p:nvPicPr>
          <p:cNvPr id="10" name="Grafik 9"/>
          <p:cNvPicPr>
            <a:picLocks noChangeAspect="1"/>
          </p:cNvPicPr>
          <p:nvPr/>
        </p:nvPicPr>
        <p:blipFill>
          <a:blip r:embed="rId4"/>
          <a:stretch>
            <a:fillRect/>
          </a:stretch>
        </p:blipFill>
        <p:spPr>
          <a:xfrm rot="13073386">
            <a:off x="167190" y="4113812"/>
            <a:ext cx="1003336" cy="596921"/>
          </a:xfrm>
          <a:prstGeom prst="rect">
            <a:avLst/>
          </a:prstGeom>
        </p:spPr>
      </p:pic>
      <p:pic>
        <p:nvPicPr>
          <p:cNvPr id="9" name="Grafik 8"/>
          <p:cNvPicPr>
            <a:picLocks noChangeAspect="1"/>
          </p:cNvPicPr>
          <p:nvPr/>
        </p:nvPicPr>
        <p:blipFill>
          <a:blip r:embed="rId5"/>
          <a:stretch>
            <a:fillRect/>
          </a:stretch>
        </p:blipFill>
        <p:spPr>
          <a:xfrm rot="18481519">
            <a:off x="896916" y="4221729"/>
            <a:ext cx="542760" cy="439207"/>
          </a:xfrm>
          <a:prstGeom prst="rect">
            <a:avLst/>
          </a:prstGeom>
        </p:spPr>
      </p:pic>
    </p:spTree>
    <p:extLst>
      <p:ext uri="{BB962C8B-B14F-4D97-AF65-F5344CB8AC3E}">
        <p14:creationId xmlns:p14="http://schemas.microsoft.com/office/powerpoint/2010/main" val="3452966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rotWithShape="1">
          <a:blip r:embed="rId2" cstate="print">
            <a:grayscl/>
            <a:extLst>
              <a:ext uri="{28A0092B-C50C-407E-A947-70E740481C1C}">
                <a14:useLocalDpi xmlns:a14="http://schemas.microsoft.com/office/drawing/2010/main" val="0"/>
              </a:ext>
            </a:extLst>
          </a:blip>
          <a:srcRect l="16888" r="33514"/>
          <a:stretch/>
        </p:blipFill>
        <p:spPr>
          <a:xfrm>
            <a:off x="0" y="857250"/>
            <a:ext cx="2165082" cy="2913365"/>
          </a:xfrm>
        </p:spPr>
      </p:pic>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2244490" y="1236275"/>
            <a:ext cx="6574907" cy="4454030"/>
          </a:xfrm>
          <a:ln>
            <a:solidFill>
              <a:schemeClr val="bg1">
                <a:lumMod val="85000"/>
              </a:schemeClr>
            </a:solidFill>
          </a:ln>
        </p:spPr>
        <p:txBody>
          <a:bodyPr>
            <a:normAutofit fontScale="92500"/>
          </a:bodyPr>
          <a:lstStyle/>
          <a:p>
            <a:pPr>
              <a:lnSpc>
                <a:spcPct val="150000"/>
              </a:lnSpc>
            </a:pPr>
            <a:r>
              <a:rPr lang="de-DE" sz="1800" dirty="0">
                <a:solidFill>
                  <a:srgbClr val="C8242B"/>
                </a:solidFill>
                <a:latin typeface="Myriad Pro" panose="020B0503030403020204" pitchFamily="34" charset="0"/>
              </a:rPr>
              <a:t>Chance: </a:t>
            </a:r>
            <a:r>
              <a:rPr lang="de-DE" sz="1800" dirty="0">
                <a:latin typeface="Myriad Pro" panose="020B0503030403020204" pitchFamily="34" charset="0"/>
              </a:rPr>
              <a:t>Die Mitarbeit im </a:t>
            </a:r>
            <a:r>
              <a:rPr lang="de-DE" sz="1800" dirty="0">
                <a:solidFill>
                  <a:srgbClr val="C8242B"/>
                </a:solidFill>
                <a:latin typeface="Myriad Pro" panose="020B0503030403020204" pitchFamily="34" charset="0"/>
              </a:rPr>
              <a:t>lokalen Team </a:t>
            </a:r>
            <a:r>
              <a:rPr lang="de-DE" sz="1800" dirty="0">
                <a:latin typeface="Myriad Pro" panose="020B0503030403020204" pitchFamily="34" charset="0"/>
              </a:rPr>
              <a:t>bietet… </a:t>
            </a:r>
          </a:p>
          <a:p>
            <a:pPr>
              <a:lnSpc>
                <a:spcPct val="150000"/>
              </a:lnSpc>
            </a:pPr>
            <a:r>
              <a:rPr lang="de-DE" sz="1275" dirty="0">
                <a:latin typeface="Myriad Pro" panose="020B0503030403020204" pitchFamily="34" charset="0"/>
              </a:rPr>
              <a:t> 	</a:t>
            </a:r>
            <a:r>
              <a:rPr lang="de-DE" dirty="0">
                <a:latin typeface="Myriad Pro" panose="020B0503030403020204" pitchFamily="34" charset="0"/>
              </a:rPr>
              <a:t>… Engagement außerhalb einer „starren“ Rätestruktur.</a:t>
            </a:r>
          </a:p>
          <a:p>
            <a:pPr>
              <a:lnSpc>
                <a:spcPct val="150000"/>
              </a:lnSpc>
            </a:pPr>
            <a:r>
              <a:rPr lang="de-DE" dirty="0">
                <a:latin typeface="Myriad Pro" panose="020B0503030403020204" pitchFamily="34" charset="0"/>
              </a:rPr>
              <a:t>	… zeitlich flexibles Engagement. </a:t>
            </a:r>
          </a:p>
          <a:p>
            <a:pPr>
              <a:lnSpc>
                <a:spcPct val="150000"/>
              </a:lnSpc>
            </a:pPr>
            <a:r>
              <a:rPr lang="de-DE" dirty="0">
                <a:latin typeface="Myriad Pro" panose="020B0503030403020204" pitchFamily="34" charset="0"/>
              </a:rPr>
              <a:t>	… kreatives und selbstorganisiertes Engagement.</a:t>
            </a:r>
          </a:p>
          <a:p>
            <a:pPr>
              <a:lnSpc>
                <a:spcPct val="150000"/>
              </a:lnSpc>
            </a:pPr>
            <a:r>
              <a:rPr lang="de-DE" dirty="0">
                <a:latin typeface="Myriad Pro" panose="020B0503030403020204" pitchFamily="34" charset="0"/>
              </a:rPr>
              <a:t>	… flexible Reaktion auf Situationen und Ereignisse vor Ort.</a:t>
            </a:r>
          </a:p>
          <a:p>
            <a:pPr>
              <a:lnSpc>
                <a:spcPct val="150000"/>
              </a:lnSpc>
            </a:pPr>
            <a:r>
              <a:rPr lang="de-DE" dirty="0">
                <a:latin typeface="Myriad Pro" panose="020B0503030403020204" pitchFamily="34" charset="0"/>
              </a:rPr>
              <a:t>	… fließenden Ein- und Ausstieg für alle die sich engagieren möchten. </a:t>
            </a:r>
          </a:p>
          <a:p>
            <a:pPr>
              <a:lnSpc>
                <a:spcPct val="150000"/>
              </a:lnSpc>
            </a:pPr>
            <a:r>
              <a:rPr lang="de-DE" dirty="0">
                <a:latin typeface="Myriad Pro" panose="020B0503030403020204" pitchFamily="34" charset="0"/>
              </a:rPr>
              <a:t>	… die Möglichkeit ein „Ort von Kirche“ zu sein.</a:t>
            </a:r>
          </a:p>
          <a:p>
            <a:pPr>
              <a:lnSpc>
                <a:spcPct val="150000"/>
              </a:lnSpc>
            </a:pPr>
            <a:r>
              <a:rPr lang="de-DE" dirty="0">
                <a:latin typeface="Myriad Pro" panose="020B0503030403020204" pitchFamily="34" charset="0"/>
              </a:rPr>
              <a:t>	… die Chance zum Mittun auf für Menschen, die sich nicht so eng mit der Kirche 		       verbunden fühlen. </a:t>
            </a:r>
          </a:p>
          <a:p>
            <a:pPr>
              <a:lnSpc>
                <a:spcPct val="150000"/>
              </a:lnSpc>
            </a:pPr>
            <a:r>
              <a:rPr lang="de-DE" dirty="0">
                <a:latin typeface="Myriad Pro" panose="020B0503030403020204" pitchFamily="34" charset="0"/>
              </a:rPr>
              <a:t>	… Engagement vor Ort, für alle Menschen aus dem Sozialraum, nicht nur für 		      Katholiken.</a:t>
            </a:r>
          </a:p>
          <a:p>
            <a:pPr>
              <a:lnSpc>
                <a:spcPct val="150000"/>
              </a:lnSpc>
            </a:pPr>
            <a:endParaRPr lang="de-DE" sz="1275" dirty="0">
              <a:latin typeface="Myriad Pro" panose="020B0503030403020204" pitchFamily="34" charset="0"/>
            </a:endParaRPr>
          </a:p>
          <a:p>
            <a:pPr>
              <a:lnSpc>
                <a:spcPct val="150000"/>
              </a:lnSpc>
            </a:pPr>
            <a:endParaRPr lang="de-DE" sz="1275" dirty="0">
              <a:latin typeface="Myriad Pro" panose="020B0503030403020204" pitchFamily="34"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pic>
        <p:nvPicPr>
          <p:cNvPr id="11" name="Grafik 10"/>
          <p:cNvPicPr>
            <a:picLocks noChangeAspect="1"/>
          </p:cNvPicPr>
          <p:nvPr/>
        </p:nvPicPr>
        <p:blipFill>
          <a:blip r:embed="rId4"/>
          <a:stretch>
            <a:fillRect/>
          </a:stretch>
        </p:blipFill>
        <p:spPr>
          <a:xfrm rot="18481519">
            <a:off x="8194415" y="1043691"/>
            <a:ext cx="781705" cy="632564"/>
          </a:xfrm>
          <a:prstGeom prst="rect">
            <a:avLst/>
          </a:prstGeom>
        </p:spPr>
      </p:pic>
    </p:spTree>
    <p:extLst>
      <p:ext uri="{BB962C8B-B14F-4D97-AF65-F5344CB8AC3E}">
        <p14:creationId xmlns:p14="http://schemas.microsoft.com/office/powerpoint/2010/main" val="1446609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347864" y="1327826"/>
            <a:ext cx="5252294" cy="4278094"/>
          </a:xfrm>
        </p:spPr>
        <p:txBody>
          <a:bodyPr/>
          <a:lstStyle/>
          <a:p>
            <a:pPr marL="449580"/>
            <a:r>
              <a:rPr lang="de-DE" sz="1800" b="0" dirty="0">
                <a:effectLst/>
                <a:latin typeface="Arial" panose="020B0604020202020204" pitchFamily="34" charset="0"/>
                <a:ea typeface="Arial" panose="020B0604020202020204" pitchFamily="34" charset="0"/>
                <a:cs typeface="Times New Roman" panose="02020603050405020304" pitchFamily="18" charset="0"/>
              </a:rPr>
              <a:t>1. Wie funktioniert der Übergang vom Pfarreienrat zum Pfarrgemeinderat praktisch? Was ändert sich bei der Ratsarbeit?</a:t>
            </a:r>
            <a:br>
              <a:rPr lang="de-DE" sz="1800" b="0" dirty="0">
                <a:effectLst/>
                <a:latin typeface="Arial" panose="020B0604020202020204" pitchFamily="34" charset="0"/>
                <a:ea typeface="Arial" panose="020B0604020202020204" pitchFamily="34" charset="0"/>
                <a:cs typeface="Times New Roman" panose="02020603050405020304" pitchFamily="18" charset="0"/>
              </a:rPr>
            </a:br>
            <a:r>
              <a:rPr lang="de-DE" sz="1800" b="0" dirty="0">
                <a:effectLst/>
                <a:latin typeface="Hoefler Text"/>
                <a:ea typeface="MS Mincho" panose="02020609040205080304" pitchFamily="49" charset="-128"/>
                <a:cs typeface="Times New Roman" panose="02020603050405020304" pitchFamily="18" charset="0"/>
              </a:rPr>
              <a:t/>
            </a:r>
            <a:br>
              <a:rPr lang="de-DE" sz="1800" b="0" dirty="0">
                <a:effectLst/>
                <a:latin typeface="Hoefler Text"/>
                <a:ea typeface="MS Mincho" panose="02020609040205080304" pitchFamily="49" charset="-128"/>
                <a:cs typeface="Times New Roman" panose="02020603050405020304" pitchFamily="18" charset="0"/>
              </a:rPr>
            </a:br>
            <a:r>
              <a:rPr lang="de-DE" sz="1800" b="0" dirty="0">
                <a:effectLst/>
                <a:latin typeface="Arial" panose="020B0604020202020204" pitchFamily="34" charset="0"/>
                <a:ea typeface="Arial" panose="020B0604020202020204" pitchFamily="34" charset="0"/>
                <a:cs typeface="Times New Roman" panose="02020603050405020304" pitchFamily="18" charset="0"/>
              </a:rPr>
              <a:t>2. Vorblick auf die Verwaltungsratswahlen im Jahr 2024</a:t>
            </a:r>
            <a:br>
              <a:rPr lang="de-DE" sz="1800" b="0" dirty="0">
                <a:effectLst/>
                <a:latin typeface="Arial" panose="020B0604020202020204" pitchFamily="34" charset="0"/>
                <a:ea typeface="Arial" panose="020B0604020202020204" pitchFamily="34" charset="0"/>
                <a:cs typeface="Times New Roman" panose="02020603050405020304" pitchFamily="18" charset="0"/>
              </a:rPr>
            </a:br>
            <a:r>
              <a:rPr lang="de-DE" sz="1800" b="0" dirty="0">
                <a:effectLst/>
                <a:latin typeface="Hoefler Text"/>
                <a:ea typeface="MS Mincho" panose="02020609040205080304" pitchFamily="49" charset="-128"/>
                <a:cs typeface="Times New Roman" panose="02020603050405020304" pitchFamily="18" charset="0"/>
              </a:rPr>
              <a:t/>
            </a:r>
            <a:br>
              <a:rPr lang="de-DE" sz="1800" b="0" dirty="0">
                <a:effectLst/>
                <a:latin typeface="Hoefler Text"/>
                <a:ea typeface="MS Mincho" panose="02020609040205080304" pitchFamily="49" charset="-128"/>
                <a:cs typeface="Times New Roman" panose="02020603050405020304" pitchFamily="18" charset="0"/>
              </a:rPr>
            </a:br>
            <a:r>
              <a:rPr lang="de-DE" sz="1800" b="0" dirty="0">
                <a:effectLst/>
                <a:latin typeface="Arial" panose="020B0604020202020204" pitchFamily="34" charset="0"/>
                <a:ea typeface="Arial" panose="020B0604020202020204" pitchFamily="34" charset="0"/>
                <a:cs typeface="Times New Roman" panose="02020603050405020304" pitchFamily="18" charset="0"/>
              </a:rPr>
              <a:t>3. Informationen zu „Lokalen Teams“ und „Verwaltungsteams“</a:t>
            </a:r>
            <a:br>
              <a:rPr lang="de-DE" sz="1800" b="0" dirty="0">
                <a:effectLst/>
                <a:latin typeface="Arial" panose="020B0604020202020204" pitchFamily="34" charset="0"/>
                <a:ea typeface="Arial" panose="020B0604020202020204" pitchFamily="34" charset="0"/>
                <a:cs typeface="Times New Roman" panose="02020603050405020304" pitchFamily="18" charset="0"/>
              </a:rPr>
            </a:br>
            <a:r>
              <a:rPr lang="de-DE" sz="1800" b="0" dirty="0">
                <a:effectLst/>
                <a:latin typeface="Hoefler Text"/>
                <a:ea typeface="MS Mincho" panose="02020609040205080304" pitchFamily="49" charset="-128"/>
                <a:cs typeface="Times New Roman" panose="02020603050405020304" pitchFamily="18" charset="0"/>
              </a:rPr>
              <a:t/>
            </a:r>
            <a:br>
              <a:rPr lang="de-DE" sz="1800" b="0" dirty="0">
                <a:effectLst/>
                <a:latin typeface="Hoefler Text"/>
                <a:ea typeface="MS Mincho" panose="02020609040205080304" pitchFamily="49" charset="-128"/>
                <a:cs typeface="Times New Roman" panose="02020603050405020304" pitchFamily="18" charset="0"/>
              </a:rPr>
            </a:br>
            <a:r>
              <a:rPr lang="de-DE" sz="1800" b="0" dirty="0">
                <a:effectLst/>
                <a:latin typeface="Arial" panose="020B0604020202020204" pitchFamily="34" charset="0"/>
                <a:ea typeface="Arial" panose="020B0604020202020204" pitchFamily="34" charset="0"/>
                <a:cs typeface="Times New Roman" panose="02020603050405020304" pitchFamily="18" charset="0"/>
              </a:rPr>
              <a:t>4. Unterstützungsangebote für Räte von Seiten des Bistums</a:t>
            </a:r>
            <a:br>
              <a:rPr lang="de-DE" sz="1800" b="0" dirty="0">
                <a:effectLst/>
                <a:latin typeface="Arial" panose="020B0604020202020204" pitchFamily="34" charset="0"/>
                <a:ea typeface="Arial" panose="020B0604020202020204" pitchFamily="34" charset="0"/>
                <a:cs typeface="Times New Roman" panose="02020603050405020304" pitchFamily="18" charset="0"/>
              </a:rPr>
            </a:br>
            <a:r>
              <a:rPr lang="de-DE" sz="1800" b="0" dirty="0">
                <a:effectLst/>
                <a:latin typeface="Hoefler Text"/>
                <a:ea typeface="MS Mincho" panose="02020609040205080304" pitchFamily="49" charset="-128"/>
                <a:cs typeface="Times New Roman" panose="02020603050405020304" pitchFamily="18" charset="0"/>
              </a:rPr>
              <a:t/>
            </a:r>
            <a:br>
              <a:rPr lang="de-DE" sz="1800" b="0" dirty="0">
                <a:effectLst/>
                <a:latin typeface="Hoefler Text"/>
                <a:ea typeface="MS Mincho" panose="02020609040205080304" pitchFamily="49" charset="-128"/>
                <a:cs typeface="Times New Roman" panose="02020603050405020304" pitchFamily="18" charset="0"/>
              </a:rPr>
            </a:br>
            <a:r>
              <a:rPr lang="de-DE" sz="1800" b="0" dirty="0">
                <a:effectLst/>
                <a:latin typeface="Arial" panose="020B0604020202020204" pitchFamily="34" charset="0"/>
                <a:ea typeface="Arial" panose="020B0604020202020204" pitchFamily="34" charset="0"/>
                <a:cs typeface="Times New Roman" panose="02020603050405020304" pitchFamily="18" charset="0"/>
              </a:rPr>
              <a:t>5. Ihre Themen – Ihre Fragen</a:t>
            </a:r>
            <a:r>
              <a:rPr lang="de-DE" sz="1800" dirty="0">
                <a:effectLst/>
                <a:latin typeface="Hoefler Text"/>
                <a:ea typeface="MS Mincho" panose="02020609040205080304" pitchFamily="49" charset="-128"/>
                <a:cs typeface="Times New Roman" panose="02020603050405020304" pitchFamily="18" charset="0"/>
              </a:rPr>
              <a:t/>
            </a:r>
            <a:br>
              <a:rPr lang="de-DE" sz="1800" dirty="0">
                <a:effectLst/>
                <a:latin typeface="Hoefler Text"/>
                <a:ea typeface="MS Mincho" panose="02020609040205080304" pitchFamily="49" charset="-128"/>
                <a:cs typeface="Times New Roman" panose="02020603050405020304" pitchFamily="18" charset="0"/>
              </a:rPr>
            </a:br>
            <a:endParaRPr lang="de-DE" sz="2000" dirty="0"/>
          </a:p>
        </p:txBody>
      </p:sp>
      <p:sp>
        <p:nvSpPr>
          <p:cNvPr id="7" name="Text Placeholder 6"/>
          <p:cNvSpPr>
            <a:spLocks noGrp="1"/>
          </p:cNvSpPr>
          <p:nvPr>
            <p:ph type="body" sz="quarter" idx="10"/>
          </p:nvPr>
        </p:nvSpPr>
        <p:spPr>
          <a:xfrm>
            <a:off x="673031" y="5688927"/>
            <a:ext cx="8056317" cy="369332"/>
          </a:xfrm>
        </p:spPr>
        <p:txBody>
          <a:bodyPr/>
          <a:lstStyle/>
          <a:p>
            <a:r>
              <a:rPr lang="de-DE" sz="2400" b="0"/>
              <a:t>Inhaltsübersicht</a:t>
            </a:r>
          </a:p>
        </p:txBody>
      </p:sp>
    </p:spTree>
    <p:extLst>
      <p:ext uri="{BB962C8B-B14F-4D97-AF65-F5344CB8AC3E}">
        <p14:creationId xmlns:p14="http://schemas.microsoft.com/office/powerpoint/2010/main" val="1158865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0" y="2653578"/>
            <a:ext cx="2165082" cy="340481"/>
          </a:xfrm>
        </p:spPr>
        <p:txBody>
          <a:bodyPr>
            <a:noAutofit/>
          </a:bodyPr>
          <a:lstStyle/>
          <a:p>
            <a:r>
              <a:rPr lang="de-DE" sz="2700">
                <a:solidFill>
                  <a:schemeClr val="bg1"/>
                </a:solidFill>
              </a:rPr>
              <a:t>zusammentun</a:t>
            </a:r>
          </a:p>
        </p:txBody>
      </p:sp>
      <p:sp>
        <p:nvSpPr>
          <p:cNvPr id="6" name="Inhaltsplatzhalter 5"/>
          <p:cNvSpPr>
            <a:spLocks noGrp="1"/>
          </p:cNvSpPr>
          <p:nvPr>
            <p:ph sz="half" idx="2"/>
          </p:nvPr>
        </p:nvSpPr>
        <p:spPr>
          <a:xfrm>
            <a:off x="644683" y="1438617"/>
            <a:ext cx="7714664" cy="4182163"/>
          </a:xfrm>
          <a:ln w="28575">
            <a:solidFill>
              <a:srgbClr val="002060"/>
            </a:solidFill>
          </a:ln>
        </p:spPr>
        <p:txBody>
          <a:bodyPr>
            <a:noAutofit/>
          </a:bodyPr>
          <a:lstStyle/>
          <a:p>
            <a:pPr algn="ctr"/>
            <a:endParaRPr lang="de-DE" sz="1800" dirty="0">
              <a:solidFill>
                <a:srgbClr val="C00000"/>
              </a:solidFill>
              <a:latin typeface="Myriad Pro" panose="020B0503030403020204" pitchFamily="34" charset="0"/>
            </a:endParaRPr>
          </a:p>
          <a:p>
            <a:pPr algn="ctr"/>
            <a:r>
              <a:rPr lang="de-DE" sz="1800" dirty="0">
                <a:solidFill>
                  <a:srgbClr val="C00000"/>
                </a:solidFill>
                <a:latin typeface="Myriad Pro" panose="020B0503030403020204" pitchFamily="34" charset="0"/>
              </a:rPr>
              <a:t>Risiken, </a:t>
            </a:r>
            <a:r>
              <a:rPr lang="de-DE" sz="1800" dirty="0">
                <a:solidFill>
                  <a:srgbClr val="002060"/>
                </a:solidFill>
                <a:latin typeface="Myriad Pro" panose="020B0503030403020204" pitchFamily="34" charset="0"/>
              </a:rPr>
              <a:t>die bedacht werden sollten</a:t>
            </a:r>
          </a:p>
          <a:p>
            <a:pPr algn="ctr"/>
            <a:endParaRPr lang="de-DE" sz="750" dirty="0">
              <a:solidFill>
                <a:srgbClr val="002060"/>
              </a:solidFill>
              <a:latin typeface="Myriad Pro" panose="020B0503030403020204" pitchFamily="34" charset="0"/>
            </a:endParaRPr>
          </a:p>
          <a:p>
            <a:pPr algn="just">
              <a:lnSpc>
                <a:spcPct val="100000"/>
              </a:lnSpc>
              <a:buFont typeface="Wingdings" panose="05000000000000000000" pitchFamily="2" charset="2"/>
              <a:buChar char="§"/>
            </a:pPr>
            <a:r>
              <a:rPr lang="de-DE" dirty="0">
                <a:solidFill>
                  <a:srgbClr val="002060"/>
                </a:solidFill>
                <a:latin typeface="Myriad Pro" panose="020B0503030403020204" pitchFamily="34" charset="0"/>
              </a:rPr>
              <a:t>Die Zusammenarbeit muss erst geklärt werden - </a:t>
            </a:r>
            <a:r>
              <a:rPr lang="de-DE" dirty="0">
                <a:solidFill>
                  <a:srgbClr val="C00000"/>
                </a:solidFill>
                <a:latin typeface="Myriad Pro" panose="020B0503030403020204" pitchFamily="34" charset="0"/>
              </a:rPr>
              <a:t>es gibt keine verbindliche Ordnung</a:t>
            </a:r>
            <a:r>
              <a:rPr lang="de-DE" dirty="0">
                <a:solidFill>
                  <a:srgbClr val="002060"/>
                </a:solidFill>
                <a:latin typeface="Myriad Pro" panose="020B0503030403020204" pitchFamily="34" charset="0"/>
              </a:rPr>
              <a:t>.</a:t>
            </a:r>
          </a:p>
          <a:p>
            <a:pPr algn="just">
              <a:lnSpc>
                <a:spcPct val="100000"/>
              </a:lnSpc>
              <a:buFont typeface="Wingdings" panose="05000000000000000000" pitchFamily="2" charset="2"/>
              <a:buChar char="§"/>
            </a:pPr>
            <a:r>
              <a:rPr lang="de-DE" dirty="0">
                <a:solidFill>
                  <a:srgbClr val="C00000"/>
                </a:solidFill>
                <a:latin typeface="Myriad Pro" panose="020B0503030403020204" pitchFamily="34" charset="0"/>
              </a:rPr>
              <a:t>Konflikte, die es bereits gibt</a:t>
            </a:r>
            <a:r>
              <a:rPr lang="de-DE" dirty="0">
                <a:solidFill>
                  <a:srgbClr val="002060"/>
                </a:solidFill>
                <a:latin typeface="Myriad Pro" panose="020B0503030403020204" pitchFamily="34" charset="0"/>
              </a:rPr>
              <a:t>, wirken in das Lokale Team.</a:t>
            </a:r>
          </a:p>
          <a:p>
            <a:pPr algn="just">
              <a:lnSpc>
                <a:spcPct val="100000"/>
              </a:lnSpc>
              <a:buFont typeface="Wingdings" panose="05000000000000000000" pitchFamily="2" charset="2"/>
              <a:buChar char="§"/>
            </a:pPr>
            <a:r>
              <a:rPr lang="de-DE" dirty="0">
                <a:solidFill>
                  <a:srgbClr val="002060"/>
                </a:solidFill>
                <a:latin typeface="Myriad Pro" panose="020B0503030403020204" pitchFamily="34" charset="0"/>
              </a:rPr>
              <a:t>Die </a:t>
            </a:r>
            <a:r>
              <a:rPr lang="de-DE" dirty="0">
                <a:solidFill>
                  <a:srgbClr val="C00000"/>
                </a:solidFill>
                <a:latin typeface="Myriad Pro" panose="020B0503030403020204" pitchFamily="34" charset="0"/>
              </a:rPr>
              <a:t>Ressourcenfrage</a:t>
            </a:r>
            <a:r>
              <a:rPr lang="de-DE" dirty="0">
                <a:solidFill>
                  <a:srgbClr val="002060"/>
                </a:solidFill>
                <a:latin typeface="Myriad Pro" panose="020B0503030403020204" pitchFamily="34" charset="0"/>
              </a:rPr>
              <a:t> ist offen. </a:t>
            </a:r>
          </a:p>
          <a:p>
            <a:pPr algn="just">
              <a:lnSpc>
                <a:spcPct val="100000"/>
              </a:lnSpc>
              <a:buFont typeface="Wingdings" panose="05000000000000000000" pitchFamily="2" charset="2"/>
              <a:buChar char="§"/>
            </a:pPr>
            <a:r>
              <a:rPr lang="de-DE" dirty="0">
                <a:solidFill>
                  <a:srgbClr val="C00000"/>
                </a:solidFill>
                <a:latin typeface="Myriad Pro" panose="020B0503030403020204" pitchFamily="34" charset="0"/>
              </a:rPr>
              <a:t>Frage nach Begleitung </a:t>
            </a:r>
            <a:r>
              <a:rPr lang="de-DE" dirty="0">
                <a:solidFill>
                  <a:srgbClr val="002060"/>
                </a:solidFill>
                <a:latin typeface="Myriad Pro" panose="020B0503030403020204" pitchFamily="34" charset="0"/>
              </a:rPr>
              <a:t>ist nicht geklärt oder wird nicht geklärt.</a:t>
            </a:r>
          </a:p>
          <a:p>
            <a:pPr algn="just">
              <a:lnSpc>
                <a:spcPct val="100000"/>
              </a:lnSpc>
              <a:buFont typeface="Wingdings" panose="05000000000000000000" pitchFamily="2" charset="2"/>
              <a:buChar char="§"/>
            </a:pPr>
            <a:r>
              <a:rPr lang="de-DE" dirty="0">
                <a:solidFill>
                  <a:srgbClr val="002060"/>
                </a:solidFill>
                <a:latin typeface="Myriad Pro" panose="020B0503030403020204" pitchFamily="34" charset="0"/>
              </a:rPr>
              <a:t>Aufgaben werden aus dem Pfarrgemeinderat delegiert: </a:t>
            </a:r>
            <a:r>
              <a:rPr lang="de-DE" dirty="0">
                <a:solidFill>
                  <a:srgbClr val="C00000"/>
                </a:solidFill>
                <a:latin typeface="Myriad Pro" panose="020B0503030403020204" pitchFamily="34" charset="0"/>
              </a:rPr>
              <a:t>„Das müsst Ihr jetzt machen!“</a:t>
            </a:r>
          </a:p>
          <a:p>
            <a:pPr algn="just">
              <a:lnSpc>
                <a:spcPct val="100000"/>
              </a:lnSpc>
              <a:buFont typeface="Wingdings" panose="05000000000000000000" pitchFamily="2" charset="2"/>
              <a:buChar char="§"/>
            </a:pPr>
            <a:endParaRPr lang="de-DE" sz="1275" dirty="0">
              <a:solidFill>
                <a:srgbClr val="002060"/>
              </a:solidFill>
              <a:latin typeface="Myriad Pro" panose="020B0503030403020204" pitchFamily="34" charset="0"/>
            </a:endParaRPr>
          </a:p>
          <a:p>
            <a:pPr algn="just">
              <a:lnSpc>
                <a:spcPct val="100000"/>
              </a:lnSpc>
              <a:buFont typeface="Wingdings" panose="05000000000000000000" pitchFamily="2" charset="2"/>
              <a:buChar char="§"/>
            </a:pPr>
            <a:endParaRPr lang="de-DE" sz="1275" dirty="0">
              <a:solidFill>
                <a:srgbClr val="002060"/>
              </a:solidFill>
              <a:latin typeface="Myriad Pro" panose="020B0503030403020204" pitchFamily="34" charset="0"/>
            </a:endParaRPr>
          </a:p>
          <a:p>
            <a:pPr algn="just">
              <a:lnSpc>
                <a:spcPct val="100000"/>
              </a:lnSpc>
              <a:buFont typeface="Wingdings" panose="05000000000000000000" pitchFamily="2" charset="2"/>
              <a:buChar char="§"/>
            </a:pPr>
            <a:endParaRPr lang="de-DE" sz="1275" dirty="0">
              <a:solidFill>
                <a:srgbClr val="002060"/>
              </a:solidFill>
              <a:latin typeface="Myriad Pro" panose="020B0503030403020204" pitchFamily="34"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5227" y="5369093"/>
            <a:ext cx="2054270" cy="452454"/>
          </a:xfrm>
          <a:prstGeom prst="rect">
            <a:avLst/>
          </a:prstGeom>
        </p:spPr>
      </p:pic>
      <p:pic>
        <p:nvPicPr>
          <p:cNvPr id="11" name="Grafik 10"/>
          <p:cNvPicPr>
            <a:picLocks noChangeAspect="1"/>
          </p:cNvPicPr>
          <p:nvPr/>
        </p:nvPicPr>
        <p:blipFill>
          <a:blip r:embed="rId4"/>
          <a:stretch>
            <a:fillRect/>
          </a:stretch>
        </p:blipFill>
        <p:spPr>
          <a:xfrm rot="18481519">
            <a:off x="6165433" y="4349320"/>
            <a:ext cx="781705" cy="632564"/>
          </a:xfrm>
          <a:prstGeom prst="rect">
            <a:avLst/>
          </a:prstGeom>
        </p:spPr>
      </p:pic>
    </p:spTree>
    <p:extLst>
      <p:ext uri="{BB962C8B-B14F-4D97-AF65-F5344CB8AC3E}">
        <p14:creationId xmlns:p14="http://schemas.microsoft.com/office/powerpoint/2010/main" val="28799469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899592" y="1376772"/>
            <a:ext cx="7668852" cy="2123658"/>
          </a:xfrm>
          <a:prstGeom prst="rect">
            <a:avLst/>
          </a:prstGeom>
          <a:noFill/>
        </p:spPr>
        <p:txBody>
          <a:bodyPr wrap="square" rtlCol="0">
            <a:spAutoFit/>
          </a:bodyPr>
          <a:lstStyle/>
          <a:p>
            <a:r>
              <a:rPr lang="de-DE" sz="2400" dirty="0">
                <a:solidFill>
                  <a:srgbClr val="0A296C"/>
                </a:solidFill>
              </a:rPr>
              <a:t>Verwaltungsteams</a:t>
            </a:r>
          </a:p>
          <a:p>
            <a:endParaRPr lang="de-DE" sz="1800" b="1" dirty="0">
              <a:effectLst/>
              <a:latin typeface="Myriad Pro" panose="020B0503030403020204" pitchFamily="34" charset="0"/>
              <a:ea typeface="Times New Roman" panose="02020603050405020304" pitchFamily="18" charset="0"/>
              <a:cs typeface="Times New Roman" panose="02020603050405020304" pitchFamily="18" charset="0"/>
            </a:endParaRPr>
          </a:p>
          <a:p>
            <a:endParaRPr lang="de-DE" b="1" dirty="0">
              <a:latin typeface="Myriad Pro" panose="020B0503030403020204" pitchFamily="34" charset="0"/>
              <a:ea typeface="Times New Roman" panose="02020603050405020304" pitchFamily="18" charset="0"/>
              <a:cs typeface="Times New Roman" panose="02020603050405020304" pitchFamily="18" charset="0"/>
            </a:endParaRPr>
          </a:p>
          <a:p>
            <a:r>
              <a:rPr lang="de-DE" sz="1800" b="1" dirty="0">
                <a:solidFill>
                  <a:schemeClr val="tx2"/>
                </a:solidFill>
                <a:effectLst/>
                <a:latin typeface="Myriad Pro" panose="020B0503030403020204" pitchFamily="34" charset="0"/>
                <a:ea typeface="Times New Roman" panose="02020603050405020304" pitchFamily="18" charset="0"/>
                <a:cs typeface="Times New Roman" panose="02020603050405020304" pitchFamily="18" charset="0"/>
              </a:rPr>
              <a:t>Lokales Engagement in Verwaltungsaufgaben </a:t>
            </a:r>
            <a:endParaRPr lang="de-DE" sz="1800" dirty="0">
              <a:solidFill>
                <a:schemeClr val="tx2"/>
              </a:solidFill>
              <a:effectLst/>
              <a:latin typeface="Myriad Pro" panose="020B0503030403020204" pitchFamily="34" charset="0"/>
              <a:ea typeface="Times New Roman" panose="02020603050405020304" pitchFamily="18" charset="0"/>
              <a:cs typeface="Times New Roman" panose="02020603050405020304" pitchFamily="18" charset="0"/>
            </a:endParaRPr>
          </a:p>
          <a:p>
            <a:r>
              <a:rPr lang="de-DE" sz="1800" dirty="0">
                <a:solidFill>
                  <a:schemeClr val="tx2"/>
                </a:solidFill>
                <a:effectLst/>
                <a:latin typeface="Myriad Pro" panose="020B0503030403020204" pitchFamily="34" charset="0"/>
                <a:ea typeface="Times New Roman" panose="02020603050405020304" pitchFamily="18" charset="0"/>
                <a:cs typeface="Times New Roman" panose="02020603050405020304" pitchFamily="18" charset="0"/>
              </a:rPr>
              <a:t>Auch für Aufgaben in der Vermögensverwaltung kann es „Lokale Teams“ geben. </a:t>
            </a:r>
            <a:r>
              <a:rPr lang="de-DE" sz="1800" u="none" strike="noStrike" dirty="0">
                <a:solidFill>
                  <a:schemeClr val="tx2"/>
                </a:solidFill>
                <a:effectLst/>
                <a:latin typeface="Myriad Pro" panose="020B0503030403020204" pitchFamily="34" charset="0"/>
                <a:ea typeface="Times New Roman" panose="02020603050405020304" pitchFamily="18" charset="0"/>
                <a:cs typeface="Times New Roman" panose="02020603050405020304" pitchFamily="18" charset="0"/>
              </a:rPr>
              <a:t> </a:t>
            </a:r>
            <a:endParaRPr lang="de-DE" sz="1800" dirty="0">
              <a:solidFill>
                <a:schemeClr val="tx2"/>
              </a:solidFill>
              <a:effectLst/>
              <a:latin typeface="Myriad Pro" panose="020B0503030403020204" pitchFamily="34" charset="0"/>
              <a:ea typeface="Times New Roman" panose="02020603050405020304" pitchFamily="18" charset="0"/>
              <a:cs typeface="Times New Roman" panose="02020603050405020304" pitchFamily="18" charset="0"/>
            </a:endParaRPr>
          </a:p>
          <a:p>
            <a:endParaRPr lang="de-DE" dirty="0">
              <a:solidFill>
                <a:srgbClr val="0A296C"/>
              </a:solidFill>
            </a:endParaRPr>
          </a:p>
        </p:txBody>
      </p:sp>
    </p:spTree>
    <p:extLst>
      <p:ext uri="{BB962C8B-B14F-4D97-AF65-F5344CB8AC3E}">
        <p14:creationId xmlns:p14="http://schemas.microsoft.com/office/powerpoint/2010/main" val="887096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519429" y="1270467"/>
            <a:ext cx="8424936" cy="3816429"/>
          </a:xfrm>
          <a:prstGeom prst="rect">
            <a:avLst/>
          </a:prstGeom>
          <a:noFill/>
        </p:spPr>
        <p:txBody>
          <a:bodyPr wrap="square" rtlCol="0">
            <a:spAutoFit/>
          </a:bodyPr>
          <a:lstStyle/>
          <a:p>
            <a:r>
              <a:rPr lang="de-DE" u="sng"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Zu Entstehung, Zusammensetzung, Auftrag und Budget: </a:t>
            </a:r>
            <a:endParaRPr lang="de-DE"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endParaRP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Zur Bildung eines Verwaltungsteams sind mehrere Möglichkeiten denkbar: Es kann vom Verwaltungsrat gesucht werden oder durch ein örtliches Auswahlverfahren festgelegt werden. Ein Mandat im Sinne einer Urwahl oder einer Wahl durch den PGR ist nicht (!) angedach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Ein Verwaltungsteam sollte aus zwei bis drei Verantwortlichen bestehen; darunter kann ein Mitglied des Verwaltungsrats der Kirchengemeinde sein, muss aber nich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Der Verwaltungsrat definiert die Aufgaben in Absprache mit dem Team und erteilt einen Auftrag.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Der Verwaltungsrat legt ein Budget für das Team fes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 </a:t>
            </a:r>
          </a:p>
          <a:p>
            <a:pPr marL="449580"/>
            <a:r>
              <a:rPr lang="de-DE" sz="1600" dirty="0">
                <a:solidFill>
                  <a:srgbClr val="0A296C"/>
                </a:solidFill>
                <a:effectLst/>
                <a:latin typeface="Arial" panose="020B0604020202020204" pitchFamily="34" charset="0"/>
                <a:ea typeface="Times New Roman" panose="02020603050405020304" pitchFamily="18" charset="0"/>
                <a:cs typeface="Times New Roman" panose="02020603050405020304" pitchFamily="18" charset="0"/>
              </a:rPr>
              <a:t>Der Verwaltungsrat kann Vollmachten oder Gattungsvollmachten aussprechen. </a:t>
            </a:r>
            <a:endParaRPr lang="de-DE" sz="1600" dirty="0">
              <a:solidFill>
                <a:srgbClr val="0A296C"/>
              </a:solidFill>
            </a:endParaRPr>
          </a:p>
        </p:txBody>
      </p:sp>
    </p:spTree>
    <p:extLst>
      <p:ext uri="{BB962C8B-B14F-4D97-AF65-F5344CB8AC3E}">
        <p14:creationId xmlns:p14="http://schemas.microsoft.com/office/powerpoint/2010/main" val="1382760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37574" y="2312876"/>
            <a:ext cx="7668852" cy="1908215"/>
          </a:xfrm>
          <a:prstGeom prst="rect">
            <a:avLst/>
          </a:prstGeom>
          <a:noFill/>
        </p:spPr>
        <p:txBody>
          <a:bodyPr wrap="square" rtlCol="0">
            <a:spAutoFit/>
          </a:bodyPr>
          <a:lstStyle/>
          <a:p>
            <a:r>
              <a:rPr lang="de-DE" sz="2000" u="sng" dirty="0">
                <a:solidFill>
                  <a:srgbClr val="0A296C"/>
                </a:solidFill>
                <a:effectLst/>
                <a:ea typeface="Times New Roman" panose="02020603050405020304" pitchFamily="18" charset="0"/>
                <a:cs typeface="Times New Roman" panose="02020603050405020304" pitchFamily="18" charset="0"/>
              </a:rPr>
              <a:t>Zur Arbeitsweise eines Verwaltungsteams: </a:t>
            </a:r>
            <a:endParaRPr lang="de-DE" sz="2000" dirty="0">
              <a:solidFill>
                <a:srgbClr val="0A296C"/>
              </a:solidFill>
              <a:effectLst/>
              <a:ea typeface="Times New Roman" panose="02020603050405020304" pitchFamily="18" charset="0"/>
              <a:cs typeface="Times New Roman" panose="02020603050405020304" pitchFamily="18" charset="0"/>
            </a:endParaRPr>
          </a:p>
          <a:p>
            <a:pPr marL="449580"/>
            <a:r>
              <a:rPr lang="de-DE" sz="1600" dirty="0">
                <a:solidFill>
                  <a:srgbClr val="0A296C"/>
                </a:solidFill>
                <a:effectLst/>
                <a:ea typeface="Times New Roman" panose="02020603050405020304" pitchFamily="18" charset="0"/>
                <a:cs typeface="Times New Roman" panose="02020603050405020304" pitchFamily="18" charset="0"/>
              </a:rPr>
              <a:t>Sein Auftrag ist schriftlich formuliert (durch einen Beschluss des Verwaltungsrats). Sofern zur Erfüllung der Aufgaben ein Budget nötig ist, legt das Verwaltungsteam einen Entwurf für das Budget fest, das dann ein Teil des Haushalts der Kirchengemeinde ist. </a:t>
            </a:r>
          </a:p>
          <a:p>
            <a:pPr marL="449580"/>
            <a:r>
              <a:rPr lang="de-DE" sz="1600" dirty="0">
                <a:effectLst/>
                <a:latin typeface="Myriad Pro" panose="020B0503030403020204" pitchFamily="34" charset="0"/>
                <a:ea typeface="Times New Roman" panose="02020603050405020304" pitchFamily="18" charset="0"/>
                <a:cs typeface="Times New Roman" panose="02020603050405020304" pitchFamily="18" charset="0"/>
              </a:rPr>
              <a:t> </a:t>
            </a:r>
          </a:p>
          <a:p>
            <a:endParaRPr lang="de-DE" dirty="0">
              <a:solidFill>
                <a:srgbClr val="0A296C"/>
              </a:solidFill>
            </a:endParaRPr>
          </a:p>
        </p:txBody>
      </p:sp>
    </p:spTree>
    <p:extLst>
      <p:ext uri="{BB962C8B-B14F-4D97-AF65-F5344CB8AC3E}">
        <p14:creationId xmlns:p14="http://schemas.microsoft.com/office/powerpoint/2010/main" val="12159491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3"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347864" y="1327826"/>
            <a:ext cx="5252294" cy="2062103"/>
          </a:xfrm>
        </p:spPr>
        <p:txBody>
          <a:bodyPr/>
          <a:lstStyle/>
          <a:p>
            <a:pPr marL="449580"/>
            <a:r>
              <a:rPr lang="de-DE" sz="1800" b="0">
                <a:effectLst/>
                <a:latin typeface="Arial" panose="020B0604020202020204" pitchFamily="34" charset="0"/>
                <a:ea typeface="Arial" panose="020B0604020202020204" pitchFamily="34" charset="0"/>
                <a:cs typeface="Times New Roman" panose="02020603050405020304" pitchFamily="18" charset="0"/>
              </a:rPr>
              <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b="0">
                <a:effectLst/>
                <a:latin typeface="Arial" panose="020B0604020202020204" pitchFamily="34" charset="0"/>
                <a:ea typeface="Arial" panose="020B0604020202020204" pitchFamily="34" charset="0"/>
                <a:cs typeface="Times New Roman" panose="02020603050405020304" pitchFamily="18" charset="0"/>
              </a:rPr>
              <a:t>4. Unterstützungsangebote für Räte von Seiten des Bistums</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a:effectLst/>
                <a:latin typeface="Hoefler Text"/>
                <a:ea typeface="MS Mincho" panose="02020609040205080304" pitchFamily="49" charset="-128"/>
                <a:cs typeface="Times New Roman" panose="02020603050405020304" pitchFamily="18" charset="0"/>
              </a:rPr>
              <a:t/>
            </a:r>
            <a:br>
              <a:rPr lang="de-DE" sz="1800">
                <a:effectLst/>
                <a:latin typeface="Hoefler Text"/>
                <a:ea typeface="MS Mincho" panose="02020609040205080304" pitchFamily="49" charset="-128"/>
                <a:cs typeface="Times New Roman" panose="02020603050405020304" pitchFamily="18" charset="0"/>
              </a:rPr>
            </a:br>
            <a:endParaRPr lang="de-DE" sz="2000"/>
          </a:p>
        </p:txBody>
      </p:sp>
      <p:sp>
        <p:nvSpPr>
          <p:cNvPr id="7" name="Text Placeholder 6"/>
          <p:cNvSpPr>
            <a:spLocks noGrp="1"/>
          </p:cNvSpPr>
          <p:nvPr>
            <p:ph type="body" sz="quarter" idx="10"/>
          </p:nvPr>
        </p:nvSpPr>
        <p:spPr>
          <a:xfrm>
            <a:off x="673031" y="5688927"/>
            <a:ext cx="8056317" cy="369332"/>
          </a:xfrm>
        </p:spPr>
        <p:txBody>
          <a:bodyPr/>
          <a:lstStyle/>
          <a:p>
            <a:endParaRPr lang="de-DE" sz="2400" b="0"/>
          </a:p>
        </p:txBody>
      </p:sp>
    </p:spTree>
    <p:extLst>
      <p:ext uri="{BB962C8B-B14F-4D97-AF65-F5344CB8AC3E}">
        <p14:creationId xmlns:p14="http://schemas.microsoft.com/office/powerpoint/2010/main" val="3334465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382070" y="228519"/>
            <a:ext cx="4374402" cy="2856429"/>
          </a:xfrm>
          <a:prstGeom prst="rect">
            <a:avLst/>
          </a:prstGeom>
        </p:spPr>
      </p:pic>
      <p:sp>
        <p:nvSpPr>
          <p:cNvPr id="3" name="object 3"/>
          <p:cNvSpPr/>
          <p:nvPr/>
        </p:nvSpPr>
        <p:spPr>
          <a:xfrm>
            <a:off x="5287018" y="5241234"/>
            <a:ext cx="241844" cy="294243"/>
          </a:xfrm>
          <a:custGeom>
            <a:avLst/>
            <a:gdLst/>
            <a:ahLst/>
            <a:cxnLst/>
            <a:rect l="l" t="t" r="r" b="b"/>
            <a:pathLst>
              <a:path w="266700" h="324485">
                <a:moveTo>
                  <a:pt x="13006" y="208872"/>
                </a:moveTo>
                <a:lnTo>
                  <a:pt x="0" y="157393"/>
                </a:lnTo>
                <a:lnTo>
                  <a:pt x="571" y="106395"/>
                </a:lnTo>
                <a:lnTo>
                  <a:pt x="14068" y="62563"/>
                </a:lnTo>
                <a:lnTo>
                  <a:pt x="38624" y="28491"/>
                </a:lnTo>
                <a:lnTo>
                  <a:pt x="72372" y="6772"/>
                </a:lnTo>
                <a:lnTo>
                  <a:pt x="113443" y="0"/>
                </a:lnTo>
                <a:lnTo>
                  <a:pt x="156510" y="9748"/>
                </a:lnTo>
                <a:lnTo>
                  <a:pt x="195838" y="34051"/>
                </a:lnTo>
                <a:lnTo>
                  <a:pt x="228908" y="70160"/>
                </a:lnTo>
                <a:lnTo>
                  <a:pt x="253203" y="115327"/>
                </a:lnTo>
                <a:lnTo>
                  <a:pt x="266203" y="166804"/>
                </a:lnTo>
                <a:lnTo>
                  <a:pt x="265639" y="217803"/>
                </a:lnTo>
                <a:lnTo>
                  <a:pt x="252145" y="261635"/>
                </a:lnTo>
                <a:lnTo>
                  <a:pt x="227591" y="295706"/>
                </a:lnTo>
                <a:lnTo>
                  <a:pt x="193845" y="317426"/>
                </a:lnTo>
                <a:lnTo>
                  <a:pt x="152776" y="324203"/>
                </a:lnTo>
                <a:lnTo>
                  <a:pt x="109703" y="314452"/>
                </a:lnTo>
                <a:lnTo>
                  <a:pt x="70373" y="290149"/>
                </a:lnTo>
                <a:lnTo>
                  <a:pt x="37302" y="254040"/>
                </a:lnTo>
                <a:lnTo>
                  <a:pt x="13006" y="208872"/>
                </a:lnTo>
                <a:close/>
              </a:path>
            </a:pathLst>
          </a:custGeom>
          <a:solidFill>
            <a:srgbClr val="C51A1B"/>
          </a:solidFill>
        </p:spPr>
        <p:txBody>
          <a:bodyPr wrap="square" lIns="0" tIns="0" rIns="0" bIns="0" rtlCol="0"/>
          <a:lstStyle/>
          <a:p>
            <a:endParaRPr/>
          </a:p>
        </p:txBody>
      </p:sp>
      <p:sp>
        <p:nvSpPr>
          <p:cNvPr id="4" name="object 4"/>
          <p:cNvSpPr/>
          <p:nvPr/>
        </p:nvSpPr>
        <p:spPr>
          <a:xfrm>
            <a:off x="5026509" y="5239305"/>
            <a:ext cx="193475" cy="235510"/>
          </a:xfrm>
          <a:custGeom>
            <a:avLst/>
            <a:gdLst/>
            <a:ahLst/>
            <a:cxnLst/>
            <a:rect l="l" t="t" r="r" b="b"/>
            <a:pathLst>
              <a:path w="213360" h="259714">
                <a:moveTo>
                  <a:pt x="14492" y="176698"/>
                </a:moveTo>
                <a:lnTo>
                  <a:pt x="0" y="125922"/>
                </a:lnTo>
                <a:lnTo>
                  <a:pt x="2233" y="75737"/>
                </a:lnTo>
                <a:lnTo>
                  <a:pt x="20049" y="35323"/>
                </a:lnTo>
                <a:lnTo>
                  <a:pt x="50524" y="8728"/>
                </a:lnTo>
                <a:lnTo>
                  <a:pt x="90736" y="0"/>
                </a:lnTo>
                <a:lnTo>
                  <a:pt x="133423" y="11654"/>
                </a:lnTo>
                <a:lnTo>
                  <a:pt x="170645" y="40644"/>
                </a:lnTo>
                <a:lnTo>
                  <a:pt x="198468" y="82677"/>
                </a:lnTo>
                <a:lnTo>
                  <a:pt x="212956" y="133457"/>
                </a:lnTo>
                <a:lnTo>
                  <a:pt x="210716" y="183640"/>
                </a:lnTo>
                <a:lnTo>
                  <a:pt x="192901" y="224053"/>
                </a:lnTo>
                <a:lnTo>
                  <a:pt x="162428" y="250646"/>
                </a:lnTo>
                <a:lnTo>
                  <a:pt x="122214" y="259368"/>
                </a:lnTo>
                <a:lnTo>
                  <a:pt x="79530" y="247715"/>
                </a:lnTo>
                <a:lnTo>
                  <a:pt x="42312" y="218727"/>
                </a:lnTo>
                <a:lnTo>
                  <a:pt x="14492" y="176698"/>
                </a:lnTo>
                <a:close/>
              </a:path>
            </a:pathLst>
          </a:custGeom>
          <a:solidFill>
            <a:srgbClr val="C51A1B"/>
          </a:solidFill>
        </p:spPr>
        <p:txBody>
          <a:bodyPr wrap="square" lIns="0" tIns="0" rIns="0" bIns="0" rtlCol="0"/>
          <a:lstStyle/>
          <a:p>
            <a:endParaRPr/>
          </a:p>
        </p:txBody>
      </p:sp>
      <p:pic>
        <p:nvPicPr>
          <p:cNvPr id="5" name="object 5"/>
          <p:cNvPicPr/>
          <p:nvPr/>
        </p:nvPicPr>
        <p:blipFill>
          <a:blip r:embed="rId3" cstate="print"/>
          <a:stretch>
            <a:fillRect/>
          </a:stretch>
        </p:blipFill>
        <p:spPr>
          <a:xfrm>
            <a:off x="4776191" y="5164720"/>
            <a:ext cx="154505" cy="188160"/>
          </a:xfrm>
          <a:prstGeom prst="rect">
            <a:avLst/>
          </a:prstGeom>
        </p:spPr>
      </p:pic>
      <p:pic>
        <p:nvPicPr>
          <p:cNvPr id="6" name="object 6"/>
          <p:cNvPicPr/>
          <p:nvPr/>
        </p:nvPicPr>
        <p:blipFill>
          <a:blip r:embed="rId4" cstate="print"/>
          <a:stretch>
            <a:fillRect/>
          </a:stretch>
        </p:blipFill>
        <p:spPr>
          <a:xfrm>
            <a:off x="4539174" y="5035422"/>
            <a:ext cx="123592" cy="150529"/>
          </a:xfrm>
          <a:prstGeom prst="rect">
            <a:avLst/>
          </a:prstGeom>
        </p:spPr>
      </p:pic>
      <p:pic>
        <p:nvPicPr>
          <p:cNvPr id="7" name="object 7"/>
          <p:cNvPicPr/>
          <p:nvPr/>
        </p:nvPicPr>
        <p:blipFill>
          <a:blip r:embed="rId5" cstate="print"/>
          <a:stretch>
            <a:fillRect/>
          </a:stretch>
        </p:blipFill>
        <p:spPr>
          <a:xfrm>
            <a:off x="4308663" y="4827888"/>
            <a:ext cx="98878" cy="120424"/>
          </a:xfrm>
          <a:prstGeom prst="rect">
            <a:avLst/>
          </a:prstGeom>
        </p:spPr>
      </p:pic>
      <p:sp>
        <p:nvSpPr>
          <p:cNvPr id="8" name="object 8"/>
          <p:cNvSpPr/>
          <p:nvPr/>
        </p:nvSpPr>
        <p:spPr>
          <a:xfrm>
            <a:off x="5593088" y="5259346"/>
            <a:ext cx="193475" cy="235510"/>
          </a:xfrm>
          <a:custGeom>
            <a:avLst/>
            <a:gdLst/>
            <a:ahLst/>
            <a:cxnLst/>
            <a:rect l="l" t="t" r="r" b="b"/>
            <a:pathLst>
              <a:path w="213360" h="259714">
                <a:moveTo>
                  <a:pt x="14493" y="176688"/>
                </a:moveTo>
                <a:lnTo>
                  <a:pt x="0" y="125911"/>
                </a:lnTo>
                <a:lnTo>
                  <a:pt x="2242" y="75727"/>
                </a:lnTo>
                <a:lnTo>
                  <a:pt x="20060" y="35312"/>
                </a:lnTo>
                <a:lnTo>
                  <a:pt x="50533" y="8719"/>
                </a:lnTo>
                <a:lnTo>
                  <a:pt x="90742" y="0"/>
                </a:lnTo>
                <a:lnTo>
                  <a:pt x="133428" y="11652"/>
                </a:lnTo>
                <a:lnTo>
                  <a:pt x="170650" y="40639"/>
                </a:lnTo>
                <a:lnTo>
                  <a:pt x="198476" y="82670"/>
                </a:lnTo>
                <a:lnTo>
                  <a:pt x="212973" y="133451"/>
                </a:lnTo>
                <a:lnTo>
                  <a:pt x="210725" y="183636"/>
                </a:lnTo>
                <a:lnTo>
                  <a:pt x="192905" y="224048"/>
                </a:lnTo>
                <a:lnTo>
                  <a:pt x="162431" y="250641"/>
                </a:lnTo>
                <a:lnTo>
                  <a:pt x="122220" y="259368"/>
                </a:lnTo>
                <a:lnTo>
                  <a:pt x="79535" y="247713"/>
                </a:lnTo>
                <a:lnTo>
                  <a:pt x="42315" y="218721"/>
                </a:lnTo>
                <a:lnTo>
                  <a:pt x="14493" y="176688"/>
                </a:lnTo>
                <a:close/>
              </a:path>
            </a:pathLst>
          </a:custGeom>
          <a:solidFill>
            <a:srgbClr val="C51A1B"/>
          </a:solidFill>
        </p:spPr>
        <p:txBody>
          <a:bodyPr wrap="square" lIns="0" tIns="0" rIns="0" bIns="0" rtlCol="0"/>
          <a:lstStyle/>
          <a:p>
            <a:endParaRPr/>
          </a:p>
        </p:txBody>
      </p:sp>
      <p:pic>
        <p:nvPicPr>
          <p:cNvPr id="9" name="object 9"/>
          <p:cNvPicPr/>
          <p:nvPr/>
        </p:nvPicPr>
        <p:blipFill>
          <a:blip r:embed="rId6" cstate="print"/>
          <a:stretch>
            <a:fillRect/>
          </a:stretch>
        </p:blipFill>
        <p:spPr>
          <a:xfrm>
            <a:off x="5860435" y="5203064"/>
            <a:ext cx="154490" cy="188160"/>
          </a:xfrm>
          <a:prstGeom prst="rect">
            <a:avLst/>
          </a:prstGeom>
        </p:spPr>
      </p:pic>
      <p:pic>
        <p:nvPicPr>
          <p:cNvPr id="10" name="object 10"/>
          <p:cNvPicPr/>
          <p:nvPr/>
        </p:nvPicPr>
        <p:blipFill>
          <a:blip r:embed="rId7" cstate="print"/>
          <a:stretch>
            <a:fillRect/>
          </a:stretch>
        </p:blipFill>
        <p:spPr>
          <a:xfrm>
            <a:off x="6094431" y="5090419"/>
            <a:ext cx="123592" cy="150534"/>
          </a:xfrm>
          <a:prstGeom prst="rect">
            <a:avLst/>
          </a:prstGeom>
        </p:spPr>
      </p:pic>
      <p:pic>
        <p:nvPicPr>
          <p:cNvPr id="11" name="object 11"/>
          <p:cNvPicPr/>
          <p:nvPr/>
        </p:nvPicPr>
        <p:blipFill>
          <a:blip r:embed="rId8" cstate="print"/>
          <a:stretch>
            <a:fillRect/>
          </a:stretch>
        </p:blipFill>
        <p:spPr>
          <a:xfrm>
            <a:off x="6297486" y="4898223"/>
            <a:ext cx="98872" cy="120424"/>
          </a:xfrm>
          <a:prstGeom prst="rect">
            <a:avLst/>
          </a:prstGeom>
        </p:spPr>
      </p:pic>
      <p:pic>
        <p:nvPicPr>
          <p:cNvPr id="12" name="object 12"/>
          <p:cNvPicPr/>
          <p:nvPr/>
        </p:nvPicPr>
        <p:blipFill>
          <a:blip r:embed="rId9" cstate="print"/>
          <a:stretch>
            <a:fillRect/>
          </a:stretch>
        </p:blipFill>
        <p:spPr>
          <a:xfrm>
            <a:off x="6539117" y="4506501"/>
            <a:ext cx="63282" cy="77061"/>
          </a:xfrm>
          <a:prstGeom prst="rect">
            <a:avLst/>
          </a:prstGeom>
        </p:spPr>
      </p:pic>
      <p:pic>
        <p:nvPicPr>
          <p:cNvPr id="13" name="object 13"/>
          <p:cNvPicPr/>
          <p:nvPr/>
        </p:nvPicPr>
        <p:blipFill>
          <a:blip r:embed="rId10" cstate="print"/>
          <a:stretch>
            <a:fillRect/>
          </a:stretch>
        </p:blipFill>
        <p:spPr>
          <a:xfrm>
            <a:off x="6438844" y="4707888"/>
            <a:ext cx="79107" cy="96329"/>
          </a:xfrm>
          <a:prstGeom prst="rect">
            <a:avLst/>
          </a:prstGeom>
        </p:spPr>
      </p:pic>
      <p:sp>
        <p:nvSpPr>
          <p:cNvPr id="14" name="object 14"/>
          <p:cNvSpPr/>
          <p:nvPr/>
        </p:nvSpPr>
        <p:spPr>
          <a:xfrm>
            <a:off x="6607275" y="4287251"/>
            <a:ext cx="50672" cy="62188"/>
          </a:xfrm>
          <a:custGeom>
            <a:avLst/>
            <a:gdLst/>
            <a:ahLst/>
            <a:cxnLst/>
            <a:rect l="l" t="t" r="r" b="b"/>
            <a:pathLst>
              <a:path w="55879" h="68579">
                <a:moveTo>
                  <a:pt x="3797" y="46317"/>
                </a:moveTo>
                <a:lnTo>
                  <a:pt x="0" y="33008"/>
                </a:lnTo>
                <a:lnTo>
                  <a:pt x="586" y="19847"/>
                </a:lnTo>
                <a:lnTo>
                  <a:pt x="5256" y="9250"/>
                </a:lnTo>
                <a:lnTo>
                  <a:pt x="13244" y="2280"/>
                </a:lnTo>
                <a:lnTo>
                  <a:pt x="23785" y="0"/>
                </a:lnTo>
                <a:lnTo>
                  <a:pt x="34977" y="3051"/>
                </a:lnTo>
                <a:lnTo>
                  <a:pt x="44732" y="10645"/>
                </a:lnTo>
                <a:lnTo>
                  <a:pt x="52023" y="21661"/>
                </a:lnTo>
                <a:lnTo>
                  <a:pt x="55821" y="34975"/>
                </a:lnTo>
                <a:lnTo>
                  <a:pt x="55231" y="48129"/>
                </a:lnTo>
                <a:lnTo>
                  <a:pt x="50561" y="58724"/>
                </a:lnTo>
                <a:lnTo>
                  <a:pt x="42574" y="65696"/>
                </a:lnTo>
                <a:lnTo>
                  <a:pt x="32036" y="67984"/>
                </a:lnTo>
                <a:lnTo>
                  <a:pt x="20848" y="64928"/>
                </a:lnTo>
                <a:lnTo>
                  <a:pt x="11091" y="57331"/>
                </a:lnTo>
                <a:lnTo>
                  <a:pt x="3797" y="46317"/>
                </a:lnTo>
                <a:close/>
              </a:path>
            </a:pathLst>
          </a:custGeom>
          <a:solidFill>
            <a:srgbClr val="C51A1B"/>
          </a:solidFill>
        </p:spPr>
        <p:txBody>
          <a:bodyPr wrap="square" lIns="0" tIns="0" rIns="0" bIns="0" rtlCol="0"/>
          <a:lstStyle/>
          <a:p>
            <a:endParaRPr/>
          </a:p>
        </p:txBody>
      </p:sp>
      <p:sp>
        <p:nvSpPr>
          <p:cNvPr id="15" name="object 15"/>
          <p:cNvSpPr/>
          <p:nvPr/>
        </p:nvSpPr>
        <p:spPr>
          <a:xfrm>
            <a:off x="6641436" y="4081818"/>
            <a:ext cx="40883" cy="49520"/>
          </a:xfrm>
          <a:custGeom>
            <a:avLst/>
            <a:gdLst/>
            <a:ahLst/>
            <a:cxnLst/>
            <a:rect l="l" t="t" r="r" b="b"/>
            <a:pathLst>
              <a:path w="45085" h="54610">
                <a:moveTo>
                  <a:pt x="3038" y="37061"/>
                </a:moveTo>
                <a:lnTo>
                  <a:pt x="0" y="26416"/>
                </a:lnTo>
                <a:lnTo>
                  <a:pt x="468" y="15888"/>
                </a:lnTo>
                <a:lnTo>
                  <a:pt x="4203" y="7408"/>
                </a:lnTo>
                <a:lnTo>
                  <a:pt x="10593" y="1828"/>
                </a:lnTo>
                <a:lnTo>
                  <a:pt x="19029" y="0"/>
                </a:lnTo>
                <a:lnTo>
                  <a:pt x="27984" y="2446"/>
                </a:lnTo>
                <a:lnTo>
                  <a:pt x="35789" y="8526"/>
                </a:lnTo>
                <a:lnTo>
                  <a:pt x="41621" y="17342"/>
                </a:lnTo>
                <a:lnTo>
                  <a:pt x="44654" y="27996"/>
                </a:lnTo>
                <a:lnTo>
                  <a:pt x="44185" y="38517"/>
                </a:lnTo>
                <a:lnTo>
                  <a:pt x="40453" y="46992"/>
                </a:lnTo>
                <a:lnTo>
                  <a:pt x="34067" y="52572"/>
                </a:lnTo>
                <a:lnTo>
                  <a:pt x="25636" y="54406"/>
                </a:lnTo>
                <a:lnTo>
                  <a:pt x="16681" y="51958"/>
                </a:lnTo>
                <a:lnTo>
                  <a:pt x="8873" y="45876"/>
                </a:lnTo>
                <a:lnTo>
                  <a:pt x="3038" y="37061"/>
                </a:lnTo>
                <a:close/>
              </a:path>
            </a:pathLst>
          </a:custGeom>
          <a:solidFill>
            <a:srgbClr val="C51A1B"/>
          </a:solidFill>
        </p:spPr>
        <p:txBody>
          <a:bodyPr wrap="square" lIns="0" tIns="0" rIns="0" bIns="0" rtlCol="0"/>
          <a:lstStyle/>
          <a:p>
            <a:endParaRPr/>
          </a:p>
        </p:txBody>
      </p:sp>
      <p:sp>
        <p:nvSpPr>
          <p:cNvPr id="16" name="object 16"/>
          <p:cNvSpPr/>
          <p:nvPr/>
        </p:nvSpPr>
        <p:spPr>
          <a:xfrm>
            <a:off x="6641212" y="3855517"/>
            <a:ext cx="32822" cy="39731"/>
          </a:xfrm>
          <a:custGeom>
            <a:avLst/>
            <a:gdLst/>
            <a:ahLst/>
            <a:cxnLst/>
            <a:rect l="l" t="t" r="r" b="b"/>
            <a:pathLst>
              <a:path w="36195" h="43814">
                <a:moveTo>
                  <a:pt x="2430" y="29635"/>
                </a:moveTo>
                <a:lnTo>
                  <a:pt x="0" y="21113"/>
                </a:lnTo>
                <a:lnTo>
                  <a:pt x="381" y="12698"/>
                </a:lnTo>
                <a:lnTo>
                  <a:pt x="3372" y="5920"/>
                </a:lnTo>
                <a:lnTo>
                  <a:pt x="8484" y="1460"/>
                </a:lnTo>
                <a:lnTo>
                  <a:pt x="15229" y="0"/>
                </a:lnTo>
                <a:lnTo>
                  <a:pt x="22391" y="1950"/>
                </a:lnTo>
                <a:lnTo>
                  <a:pt x="28633" y="6812"/>
                </a:lnTo>
                <a:lnTo>
                  <a:pt x="33299" y="13863"/>
                </a:lnTo>
                <a:lnTo>
                  <a:pt x="35733" y="22380"/>
                </a:lnTo>
                <a:lnTo>
                  <a:pt x="35355" y="30802"/>
                </a:lnTo>
                <a:lnTo>
                  <a:pt x="32366" y="37584"/>
                </a:lnTo>
                <a:lnTo>
                  <a:pt x="27254" y="42045"/>
                </a:lnTo>
                <a:lnTo>
                  <a:pt x="20509" y="43505"/>
                </a:lnTo>
                <a:lnTo>
                  <a:pt x="13345" y="41554"/>
                </a:lnTo>
                <a:lnTo>
                  <a:pt x="7098" y="36690"/>
                </a:lnTo>
                <a:lnTo>
                  <a:pt x="2430" y="29635"/>
                </a:lnTo>
                <a:close/>
              </a:path>
            </a:pathLst>
          </a:custGeom>
          <a:solidFill>
            <a:srgbClr val="C51A1B"/>
          </a:solidFill>
        </p:spPr>
        <p:txBody>
          <a:bodyPr wrap="square" lIns="0" tIns="0" rIns="0" bIns="0" rtlCol="0"/>
          <a:lstStyle/>
          <a:p>
            <a:endParaRPr/>
          </a:p>
        </p:txBody>
      </p:sp>
      <p:grpSp>
        <p:nvGrpSpPr>
          <p:cNvPr id="17" name="object 17"/>
          <p:cNvGrpSpPr/>
          <p:nvPr/>
        </p:nvGrpSpPr>
        <p:grpSpPr>
          <a:xfrm>
            <a:off x="5540472" y="4830008"/>
            <a:ext cx="382919" cy="281575"/>
            <a:chOff x="3735009" y="5326425"/>
            <a:chExt cx="422275" cy="310515"/>
          </a:xfrm>
        </p:grpSpPr>
        <p:sp>
          <p:nvSpPr>
            <p:cNvPr id="18" name="object 18"/>
            <p:cNvSpPr/>
            <p:nvPr/>
          </p:nvSpPr>
          <p:spPr>
            <a:xfrm>
              <a:off x="3942377" y="5326425"/>
              <a:ext cx="214629" cy="259079"/>
            </a:xfrm>
            <a:custGeom>
              <a:avLst/>
              <a:gdLst/>
              <a:ahLst/>
              <a:cxnLst/>
              <a:rect l="l" t="t" r="r" b="b"/>
              <a:pathLst>
                <a:path w="214629" h="259079">
                  <a:moveTo>
                    <a:pt x="12496" y="170263"/>
                  </a:moveTo>
                  <a:lnTo>
                    <a:pt x="0" y="119101"/>
                  </a:lnTo>
                  <a:lnTo>
                    <a:pt x="4014" y="71190"/>
                  </a:lnTo>
                  <a:lnTo>
                    <a:pt x="23140" y="31804"/>
                  </a:lnTo>
                  <a:lnTo>
                    <a:pt x="55981" y="6222"/>
                  </a:lnTo>
                  <a:lnTo>
                    <a:pt x="96881" y="0"/>
                  </a:lnTo>
                  <a:lnTo>
                    <a:pt x="137971" y="13415"/>
                  </a:lnTo>
                  <a:lnTo>
                    <a:pt x="174554" y="43817"/>
                  </a:lnTo>
                  <a:lnTo>
                    <a:pt x="201934" y="88553"/>
                  </a:lnTo>
                  <a:lnTo>
                    <a:pt x="214437" y="139710"/>
                  </a:lnTo>
                  <a:lnTo>
                    <a:pt x="210423" y="187617"/>
                  </a:lnTo>
                  <a:lnTo>
                    <a:pt x="191292" y="227000"/>
                  </a:lnTo>
                  <a:lnTo>
                    <a:pt x="158444" y="252583"/>
                  </a:lnTo>
                  <a:lnTo>
                    <a:pt x="117545" y="258807"/>
                  </a:lnTo>
                  <a:lnTo>
                    <a:pt x="76457" y="245396"/>
                  </a:lnTo>
                  <a:lnTo>
                    <a:pt x="39876" y="214998"/>
                  </a:lnTo>
                  <a:lnTo>
                    <a:pt x="12496" y="170263"/>
                  </a:lnTo>
                  <a:close/>
                </a:path>
              </a:pathLst>
            </a:custGeom>
            <a:solidFill>
              <a:srgbClr val="C51A1B"/>
            </a:solidFill>
          </p:spPr>
          <p:txBody>
            <a:bodyPr wrap="square" lIns="0" tIns="0" rIns="0" bIns="0" rtlCol="0"/>
            <a:lstStyle/>
            <a:p>
              <a:endParaRPr/>
            </a:p>
          </p:txBody>
        </p:sp>
        <p:pic>
          <p:nvPicPr>
            <p:cNvPr id="19" name="object 19"/>
            <p:cNvPicPr/>
            <p:nvPr/>
          </p:nvPicPr>
          <p:blipFill>
            <a:blip r:embed="rId11" cstate="print"/>
            <a:stretch>
              <a:fillRect/>
            </a:stretch>
          </p:blipFill>
          <p:spPr>
            <a:xfrm>
              <a:off x="3735009" y="5429891"/>
              <a:ext cx="171556" cy="207047"/>
            </a:xfrm>
            <a:prstGeom prst="rect">
              <a:avLst/>
            </a:prstGeom>
          </p:spPr>
        </p:pic>
      </p:grpSp>
      <p:pic>
        <p:nvPicPr>
          <p:cNvPr id="20" name="object 20"/>
          <p:cNvPicPr/>
          <p:nvPr/>
        </p:nvPicPr>
        <p:blipFill>
          <a:blip r:embed="rId12" cstate="print"/>
          <a:stretch>
            <a:fillRect/>
          </a:stretch>
        </p:blipFill>
        <p:spPr>
          <a:xfrm>
            <a:off x="5343722" y="4954457"/>
            <a:ext cx="124454" cy="150197"/>
          </a:xfrm>
          <a:prstGeom prst="rect">
            <a:avLst/>
          </a:prstGeom>
        </p:spPr>
      </p:pic>
      <p:pic>
        <p:nvPicPr>
          <p:cNvPr id="21" name="object 21"/>
          <p:cNvPicPr/>
          <p:nvPr/>
        </p:nvPicPr>
        <p:blipFill>
          <a:blip r:embed="rId13" cstate="print"/>
          <a:stretch>
            <a:fillRect/>
          </a:stretch>
        </p:blipFill>
        <p:spPr>
          <a:xfrm>
            <a:off x="5144386" y="4935538"/>
            <a:ext cx="99566" cy="120157"/>
          </a:xfrm>
          <a:prstGeom prst="rect">
            <a:avLst/>
          </a:prstGeom>
        </p:spPr>
      </p:pic>
      <p:pic>
        <p:nvPicPr>
          <p:cNvPr id="22" name="object 22"/>
          <p:cNvPicPr/>
          <p:nvPr/>
        </p:nvPicPr>
        <p:blipFill>
          <a:blip r:embed="rId14" cstate="print"/>
          <a:stretch>
            <a:fillRect/>
          </a:stretch>
        </p:blipFill>
        <p:spPr>
          <a:xfrm>
            <a:off x="4932153" y="4850777"/>
            <a:ext cx="79652" cy="96128"/>
          </a:xfrm>
          <a:prstGeom prst="rect">
            <a:avLst/>
          </a:prstGeom>
        </p:spPr>
      </p:pic>
      <p:sp>
        <p:nvSpPr>
          <p:cNvPr id="23" name="object 23"/>
          <p:cNvSpPr/>
          <p:nvPr/>
        </p:nvSpPr>
        <p:spPr>
          <a:xfrm>
            <a:off x="5943681" y="4621682"/>
            <a:ext cx="296547" cy="316124"/>
          </a:xfrm>
          <a:custGeom>
            <a:avLst/>
            <a:gdLst/>
            <a:ahLst/>
            <a:cxnLst/>
            <a:rect l="l" t="t" r="r" b="b"/>
            <a:pathLst>
              <a:path w="327025" h="348614">
                <a:moveTo>
                  <a:pt x="171551" y="253212"/>
                </a:moveTo>
                <a:lnTo>
                  <a:pt x="161569" y="212280"/>
                </a:lnTo>
                <a:lnTo>
                  <a:pt x="139661" y="176491"/>
                </a:lnTo>
                <a:lnTo>
                  <a:pt x="110388" y="152171"/>
                </a:lnTo>
                <a:lnTo>
                  <a:pt x="77520" y="141439"/>
                </a:lnTo>
                <a:lnTo>
                  <a:pt x="44792" y="146418"/>
                </a:lnTo>
                <a:lnTo>
                  <a:pt x="18516" y="166878"/>
                </a:lnTo>
                <a:lnTo>
                  <a:pt x="3213" y="198386"/>
                </a:lnTo>
                <a:lnTo>
                  <a:pt x="0" y="236715"/>
                </a:lnTo>
                <a:lnTo>
                  <a:pt x="9994" y="277647"/>
                </a:lnTo>
                <a:lnTo>
                  <a:pt x="31902" y="313436"/>
                </a:lnTo>
                <a:lnTo>
                  <a:pt x="61175" y="337756"/>
                </a:lnTo>
                <a:lnTo>
                  <a:pt x="94043" y="348488"/>
                </a:lnTo>
                <a:lnTo>
                  <a:pt x="126771" y="343509"/>
                </a:lnTo>
                <a:lnTo>
                  <a:pt x="153035" y="323049"/>
                </a:lnTo>
                <a:lnTo>
                  <a:pt x="168338" y="291541"/>
                </a:lnTo>
                <a:lnTo>
                  <a:pt x="171551" y="253212"/>
                </a:lnTo>
                <a:close/>
              </a:path>
              <a:path w="327025" h="348614">
                <a:moveTo>
                  <a:pt x="326529" y="89420"/>
                </a:moveTo>
                <a:lnTo>
                  <a:pt x="318541" y="56680"/>
                </a:lnTo>
                <a:lnTo>
                  <a:pt x="301015" y="28041"/>
                </a:lnTo>
                <a:lnTo>
                  <a:pt x="277596" y="8585"/>
                </a:lnTo>
                <a:lnTo>
                  <a:pt x="251307" y="0"/>
                </a:lnTo>
                <a:lnTo>
                  <a:pt x="225132" y="3975"/>
                </a:lnTo>
                <a:lnTo>
                  <a:pt x="204101" y="20345"/>
                </a:lnTo>
                <a:lnTo>
                  <a:pt x="191858" y="45554"/>
                </a:lnTo>
                <a:lnTo>
                  <a:pt x="189280" y="76225"/>
                </a:lnTo>
                <a:lnTo>
                  <a:pt x="197281" y="108966"/>
                </a:lnTo>
                <a:lnTo>
                  <a:pt x="214807" y="137591"/>
                </a:lnTo>
                <a:lnTo>
                  <a:pt x="238226" y="157048"/>
                </a:lnTo>
                <a:lnTo>
                  <a:pt x="264528" y="165633"/>
                </a:lnTo>
                <a:lnTo>
                  <a:pt x="290703" y="161658"/>
                </a:lnTo>
                <a:lnTo>
                  <a:pt x="311721" y="145275"/>
                </a:lnTo>
                <a:lnTo>
                  <a:pt x="323964" y="120078"/>
                </a:lnTo>
                <a:lnTo>
                  <a:pt x="326529" y="89420"/>
                </a:lnTo>
                <a:close/>
              </a:path>
            </a:pathLst>
          </a:custGeom>
          <a:solidFill>
            <a:srgbClr val="C51A1B"/>
          </a:solidFill>
        </p:spPr>
        <p:txBody>
          <a:bodyPr wrap="square" lIns="0" tIns="0" rIns="0" bIns="0" rtlCol="0"/>
          <a:lstStyle/>
          <a:p>
            <a:endParaRPr/>
          </a:p>
        </p:txBody>
      </p:sp>
      <p:pic>
        <p:nvPicPr>
          <p:cNvPr id="24" name="object 24"/>
          <p:cNvPicPr/>
          <p:nvPr/>
        </p:nvPicPr>
        <p:blipFill>
          <a:blip r:embed="rId15" cstate="print"/>
          <a:stretch>
            <a:fillRect/>
          </a:stretch>
        </p:blipFill>
        <p:spPr>
          <a:xfrm>
            <a:off x="6251203" y="4458186"/>
            <a:ext cx="99568" cy="120161"/>
          </a:xfrm>
          <a:prstGeom prst="rect">
            <a:avLst/>
          </a:prstGeom>
        </p:spPr>
      </p:pic>
      <p:pic>
        <p:nvPicPr>
          <p:cNvPr id="25" name="object 25"/>
          <p:cNvPicPr/>
          <p:nvPr/>
        </p:nvPicPr>
        <p:blipFill>
          <a:blip r:embed="rId16" cstate="print"/>
          <a:stretch>
            <a:fillRect/>
          </a:stretch>
        </p:blipFill>
        <p:spPr>
          <a:xfrm>
            <a:off x="6347518" y="4240357"/>
            <a:ext cx="79651" cy="96126"/>
          </a:xfrm>
          <a:prstGeom prst="rect">
            <a:avLst/>
          </a:prstGeom>
        </p:spPr>
      </p:pic>
      <p:pic>
        <p:nvPicPr>
          <p:cNvPr id="26" name="object 26"/>
          <p:cNvPicPr/>
          <p:nvPr/>
        </p:nvPicPr>
        <p:blipFill>
          <a:blip r:embed="rId17" cstate="print"/>
          <a:stretch>
            <a:fillRect/>
          </a:stretch>
        </p:blipFill>
        <p:spPr>
          <a:xfrm>
            <a:off x="6401293" y="4043880"/>
            <a:ext cx="63724" cy="76899"/>
          </a:xfrm>
          <a:prstGeom prst="rect">
            <a:avLst/>
          </a:prstGeom>
        </p:spPr>
      </p:pic>
      <p:sp>
        <p:nvSpPr>
          <p:cNvPr id="27" name="object 27"/>
          <p:cNvSpPr/>
          <p:nvPr/>
        </p:nvSpPr>
        <p:spPr>
          <a:xfrm>
            <a:off x="6423971" y="3851671"/>
            <a:ext cx="51248" cy="61613"/>
          </a:xfrm>
          <a:custGeom>
            <a:avLst/>
            <a:gdLst/>
            <a:ahLst/>
            <a:cxnLst/>
            <a:rect l="l" t="t" r="r" b="b"/>
            <a:pathLst>
              <a:path w="56514" h="67945">
                <a:moveTo>
                  <a:pt x="3281" y="44640"/>
                </a:moveTo>
                <a:lnTo>
                  <a:pt x="0" y="31226"/>
                </a:lnTo>
                <a:lnTo>
                  <a:pt x="1050" y="18664"/>
                </a:lnTo>
                <a:lnTo>
                  <a:pt x="6065" y="8338"/>
                </a:lnTo>
                <a:lnTo>
                  <a:pt x="14678" y="1630"/>
                </a:lnTo>
                <a:lnTo>
                  <a:pt x="25400" y="0"/>
                </a:lnTo>
                <a:lnTo>
                  <a:pt x="36170" y="3518"/>
                </a:lnTo>
                <a:lnTo>
                  <a:pt x="45760" y="11491"/>
                </a:lnTo>
                <a:lnTo>
                  <a:pt x="52943" y="23223"/>
                </a:lnTo>
                <a:lnTo>
                  <a:pt x="56218" y="36625"/>
                </a:lnTo>
                <a:lnTo>
                  <a:pt x="55165" y="49179"/>
                </a:lnTo>
                <a:lnTo>
                  <a:pt x="50148" y="59503"/>
                </a:lnTo>
                <a:lnTo>
                  <a:pt x="41535" y="66210"/>
                </a:lnTo>
                <a:lnTo>
                  <a:pt x="30815" y="67849"/>
                </a:lnTo>
                <a:lnTo>
                  <a:pt x="20044" y="64336"/>
                </a:lnTo>
                <a:lnTo>
                  <a:pt x="10456" y="56368"/>
                </a:lnTo>
                <a:lnTo>
                  <a:pt x="3281" y="44640"/>
                </a:lnTo>
                <a:close/>
              </a:path>
            </a:pathLst>
          </a:custGeom>
          <a:solidFill>
            <a:srgbClr val="C51A1B"/>
          </a:solidFill>
        </p:spPr>
        <p:txBody>
          <a:bodyPr wrap="square" lIns="0" tIns="0" rIns="0" bIns="0" rtlCol="0"/>
          <a:lstStyle/>
          <a:p>
            <a:endParaRPr/>
          </a:p>
        </p:txBody>
      </p:sp>
      <p:sp>
        <p:nvSpPr>
          <p:cNvPr id="28" name="object 28"/>
          <p:cNvSpPr/>
          <p:nvPr/>
        </p:nvSpPr>
        <p:spPr>
          <a:xfrm>
            <a:off x="6420221" y="3655400"/>
            <a:ext cx="40883" cy="49520"/>
          </a:xfrm>
          <a:custGeom>
            <a:avLst/>
            <a:gdLst/>
            <a:ahLst/>
            <a:cxnLst/>
            <a:rect l="l" t="t" r="r" b="b"/>
            <a:pathLst>
              <a:path w="45085" h="54610">
                <a:moveTo>
                  <a:pt x="2618" y="35711"/>
                </a:moveTo>
                <a:lnTo>
                  <a:pt x="0" y="24979"/>
                </a:lnTo>
                <a:lnTo>
                  <a:pt x="841" y="14929"/>
                </a:lnTo>
                <a:lnTo>
                  <a:pt x="4853" y="6668"/>
                </a:lnTo>
                <a:lnTo>
                  <a:pt x="11743" y="1300"/>
                </a:lnTo>
                <a:lnTo>
                  <a:pt x="20319" y="0"/>
                </a:lnTo>
                <a:lnTo>
                  <a:pt x="28936" y="2811"/>
                </a:lnTo>
                <a:lnTo>
                  <a:pt x="36608" y="9183"/>
                </a:lnTo>
                <a:lnTo>
                  <a:pt x="42348" y="18566"/>
                </a:lnTo>
                <a:lnTo>
                  <a:pt x="44974" y="29301"/>
                </a:lnTo>
                <a:lnTo>
                  <a:pt x="44133" y="39349"/>
                </a:lnTo>
                <a:lnTo>
                  <a:pt x="40121" y="47608"/>
                </a:lnTo>
                <a:lnTo>
                  <a:pt x="33235" y="52972"/>
                </a:lnTo>
                <a:lnTo>
                  <a:pt x="24655" y="54278"/>
                </a:lnTo>
                <a:lnTo>
                  <a:pt x="16035" y="51464"/>
                </a:lnTo>
                <a:lnTo>
                  <a:pt x="8362" y="45089"/>
                </a:lnTo>
                <a:lnTo>
                  <a:pt x="2618" y="35711"/>
                </a:lnTo>
                <a:close/>
              </a:path>
            </a:pathLst>
          </a:custGeom>
          <a:solidFill>
            <a:srgbClr val="C51A1B"/>
          </a:solidFill>
        </p:spPr>
        <p:txBody>
          <a:bodyPr wrap="square" lIns="0" tIns="0" rIns="0" bIns="0" rtlCol="0"/>
          <a:lstStyle/>
          <a:p>
            <a:endParaRPr/>
          </a:p>
        </p:txBody>
      </p:sp>
      <p:sp>
        <p:nvSpPr>
          <p:cNvPr id="29" name="object 29"/>
          <p:cNvSpPr/>
          <p:nvPr/>
        </p:nvSpPr>
        <p:spPr>
          <a:xfrm>
            <a:off x="6395970" y="3481179"/>
            <a:ext cx="32822" cy="39731"/>
          </a:xfrm>
          <a:custGeom>
            <a:avLst/>
            <a:gdLst/>
            <a:ahLst/>
            <a:cxnLst/>
            <a:rect l="l" t="t" r="r" b="b"/>
            <a:pathLst>
              <a:path w="36195" h="43814">
                <a:moveTo>
                  <a:pt x="2102" y="28569"/>
                </a:moveTo>
                <a:lnTo>
                  <a:pt x="0" y="19982"/>
                </a:lnTo>
                <a:lnTo>
                  <a:pt x="672" y="11942"/>
                </a:lnTo>
                <a:lnTo>
                  <a:pt x="3883" y="5335"/>
                </a:lnTo>
                <a:lnTo>
                  <a:pt x="9394" y="1047"/>
                </a:lnTo>
                <a:lnTo>
                  <a:pt x="16258" y="0"/>
                </a:lnTo>
                <a:lnTo>
                  <a:pt x="23152" y="2250"/>
                </a:lnTo>
                <a:lnTo>
                  <a:pt x="29291" y="7349"/>
                </a:lnTo>
                <a:lnTo>
                  <a:pt x="33886" y="14847"/>
                </a:lnTo>
                <a:lnTo>
                  <a:pt x="35983" y="23438"/>
                </a:lnTo>
                <a:lnTo>
                  <a:pt x="35306" y="31480"/>
                </a:lnTo>
                <a:lnTo>
                  <a:pt x="32094" y="38087"/>
                </a:lnTo>
                <a:lnTo>
                  <a:pt x="26584" y="42375"/>
                </a:lnTo>
                <a:lnTo>
                  <a:pt x="19720" y="43423"/>
                </a:lnTo>
                <a:lnTo>
                  <a:pt x="12827" y="41172"/>
                </a:lnTo>
                <a:lnTo>
                  <a:pt x="6692" y="36071"/>
                </a:lnTo>
                <a:lnTo>
                  <a:pt x="2102" y="28569"/>
                </a:lnTo>
                <a:close/>
              </a:path>
            </a:pathLst>
          </a:custGeom>
          <a:solidFill>
            <a:srgbClr val="C51A1B"/>
          </a:solidFill>
        </p:spPr>
        <p:txBody>
          <a:bodyPr wrap="square" lIns="0" tIns="0" rIns="0" bIns="0" rtlCol="0"/>
          <a:lstStyle/>
          <a:p>
            <a:endParaRPr/>
          </a:p>
        </p:txBody>
      </p:sp>
      <p:sp>
        <p:nvSpPr>
          <p:cNvPr id="30" name="object 30"/>
          <p:cNvSpPr/>
          <p:nvPr/>
        </p:nvSpPr>
        <p:spPr>
          <a:xfrm>
            <a:off x="6340969" y="3299426"/>
            <a:ext cx="29943" cy="35701"/>
          </a:xfrm>
          <a:custGeom>
            <a:avLst/>
            <a:gdLst/>
            <a:ahLst/>
            <a:cxnLst/>
            <a:rect l="l" t="t" r="r" b="b"/>
            <a:pathLst>
              <a:path w="33020" h="39370">
                <a:moveTo>
                  <a:pt x="7596" y="34191"/>
                </a:moveTo>
                <a:lnTo>
                  <a:pt x="0" y="15924"/>
                </a:lnTo>
                <a:lnTo>
                  <a:pt x="2613" y="6067"/>
                </a:lnTo>
                <a:lnTo>
                  <a:pt x="16654" y="0"/>
                </a:lnTo>
                <a:lnTo>
                  <a:pt x="25429" y="4952"/>
                </a:lnTo>
                <a:lnTo>
                  <a:pt x="33025" y="23218"/>
                </a:lnTo>
                <a:lnTo>
                  <a:pt x="30412" y="33076"/>
                </a:lnTo>
                <a:lnTo>
                  <a:pt x="23386" y="36098"/>
                </a:lnTo>
                <a:lnTo>
                  <a:pt x="16365" y="39132"/>
                </a:lnTo>
                <a:lnTo>
                  <a:pt x="7596" y="34191"/>
                </a:lnTo>
                <a:close/>
              </a:path>
            </a:pathLst>
          </a:custGeom>
          <a:solidFill>
            <a:srgbClr val="C51A1B"/>
          </a:solidFill>
        </p:spPr>
        <p:txBody>
          <a:bodyPr wrap="square" lIns="0" tIns="0" rIns="0" bIns="0" rtlCol="0"/>
          <a:lstStyle/>
          <a:p>
            <a:endParaRPr/>
          </a:p>
        </p:txBody>
      </p:sp>
      <p:grpSp>
        <p:nvGrpSpPr>
          <p:cNvPr id="31" name="object 31"/>
          <p:cNvGrpSpPr/>
          <p:nvPr/>
        </p:nvGrpSpPr>
        <p:grpSpPr>
          <a:xfrm>
            <a:off x="5708368" y="4397039"/>
            <a:ext cx="404801" cy="360462"/>
            <a:chOff x="3920161" y="4848957"/>
            <a:chExt cx="446405" cy="397510"/>
          </a:xfrm>
        </p:grpSpPr>
        <p:sp>
          <p:nvSpPr>
            <p:cNvPr id="32" name="object 32"/>
            <p:cNvSpPr/>
            <p:nvPr/>
          </p:nvSpPr>
          <p:spPr>
            <a:xfrm>
              <a:off x="4068064" y="4848961"/>
              <a:ext cx="298450" cy="325120"/>
            </a:xfrm>
            <a:custGeom>
              <a:avLst/>
              <a:gdLst/>
              <a:ahLst/>
              <a:cxnLst/>
              <a:rect l="l" t="t" r="r" b="b"/>
              <a:pathLst>
                <a:path w="298450" h="325120">
                  <a:moveTo>
                    <a:pt x="137629" y="251612"/>
                  </a:moveTo>
                  <a:lnTo>
                    <a:pt x="131051" y="219862"/>
                  </a:lnTo>
                  <a:lnTo>
                    <a:pt x="114592" y="190461"/>
                  </a:lnTo>
                  <a:lnTo>
                    <a:pt x="90932" y="169164"/>
                  </a:lnTo>
                  <a:lnTo>
                    <a:pt x="64731" y="159512"/>
                  </a:lnTo>
                  <a:lnTo>
                    <a:pt x="39141" y="161950"/>
                  </a:lnTo>
                  <a:lnTo>
                    <a:pt x="17272" y="176911"/>
                  </a:lnTo>
                  <a:lnTo>
                    <a:pt x="3505" y="202120"/>
                  </a:lnTo>
                  <a:lnTo>
                    <a:pt x="0" y="232473"/>
                  </a:lnTo>
                  <a:lnTo>
                    <a:pt x="6578" y="264223"/>
                  </a:lnTo>
                  <a:lnTo>
                    <a:pt x="23050" y="293624"/>
                  </a:lnTo>
                  <a:lnTo>
                    <a:pt x="46710" y="314921"/>
                  </a:lnTo>
                  <a:lnTo>
                    <a:pt x="72898" y="324573"/>
                  </a:lnTo>
                  <a:lnTo>
                    <a:pt x="98501" y="322122"/>
                  </a:lnTo>
                  <a:lnTo>
                    <a:pt x="120357" y="307162"/>
                  </a:lnTo>
                  <a:lnTo>
                    <a:pt x="134124" y="281965"/>
                  </a:lnTo>
                  <a:lnTo>
                    <a:pt x="137629" y="251612"/>
                  </a:lnTo>
                  <a:close/>
                </a:path>
                <a:path w="298450" h="325120">
                  <a:moveTo>
                    <a:pt x="297891" y="115125"/>
                  </a:moveTo>
                  <a:lnTo>
                    <a:pt x="289674" y="75438"/>
                  </a:lnTo>
                  <a:lnTo>
                    <a:pt x="269087" y="38684"/>
                  </a:lnTo>
                  <a:lnTo>
                    <a:pt x="239509" y="12065"/>
                  </a:lnTo>
                  <a:lnTo>
                    <a:pt x="206768" y="0"/>
                  </a:lnTo>
                  <a:lnTo>
                    <a:pt x="174777" y="3048"/>
                  </a:lnTo>
                  <a:lnTo>
                    <a:pt x="147447" y="21755"/>
                  </a:lnTo>
                  <a:lnTo>
                    <a:pt x="130238" y="53263"/>
                  </a:lnTo>
                  <a:lnTo>
                    <a:pt x="125857" y="91211"/>
                  </a:lnTo>
                  <a:lnTo>
                    <a:pt x="134073" y="130898"/>
                  </a:lnTo>
                  <a:lnTo>
                    <a:pt x="154660" y="167652"/>
                  </a:lnTo>
                  <a:lnTo>
                    <a:pt x="184238" y="194271"/>
                  </a:lnTo>
                  <a:lnTo>
                    <a:pt x="216979" y="206324"/>
                  </a:lnTo>
                  <a:lnTo>
                    <a:pt x="248983" y="203263"/>
                  </a:lnTo>
                  <a:lnTo>
                    <a:pt x="276313" y="184569"/>
                  </a:lnTo>
                  <a:lnTo>
                    <a:pt x="293509" y="153073"/>
                  </a:lnTo>
                  <a:lnTo>
                    <a:pt x="297891" y="115125"/>
                  </a:lnTo>
                  <a:close/>
                </a:path>
              </a:pathLst>
            </a:custGeom>
            <a:solidFill>
              <a:srgbClr val="C51A1B"/>
            </a:solidFill>
          </p:spPr>
          <p:txBody>
            <a:bodyPr wrap="square" lIns="0" tIns="0" rIns="0" bIns="0" rtlCol="0"/>
            <a:lstStyle/>
            <a:p>
              <a:endParaRPr/>
            </a:p>
          </p:txBody>
        </p:sp>
        <p:pic>
          <p:nvPicPr>
            <p:cNvPr id="33" name="object 33"/>
            <p:cNvPicPr/>
            <p:nvPr/>
          </p:nvPicPr>
          <p:blipFill>
            <a:blip r:embed="rId18" cstate="print"/>
            <a:stretch>
              <a:fillRect/>
            </a:stretch>
          </p:blipFill>
          <p:spPr>
            <a:xfrm>
              <a:off x="3920161" y="5113992"/>
              <a:ext cx="110099" cy="132043"/>
            </a:xfrm>
            <a:prstGeom prst="rect">
              <a:avLst/>
            </a:prstGeom>
          </p:spPr>
        </p:pic>
      </p:grpSp>
      <p:pic>
        <p:nvPicPr>
          <p:cNvPr id="34" name="object 34"/>
          <p:cNvPicPr/>
          <p:nvPr/>
        </p:nvPicPr>
        <p:blipFill>
          <a:blip r:embed="rId19" cstate="print"/>
          <a:stretch>
            <a:fillRect/>
          </a:stretch>
        </p:blipFill>
        <p:spPr>
          <a:xfrm>
            <a:off x="5561564" y="4693254"/>
            <a:ext cx="79872" cy="95784"/>
          </a:xfrm>
          <a:prstGeom prst="rect">
            <a:avLst/>
          </a:prstGeom>
        </p:spPr>
      </p:pic>
      <p:pic>
        <p:nvPicPr>
          <p:cNvPr id="35" name="object 35"/>
          <p:cNvPicPr/>
          <p:nvPr/>
        </p:nvPicPr>
        <p:blipFill>
          <a:blip r:embed="rId20" cstate="print"/>
          <a:stretch>
            <a:fillRect/>
          </a:stretch>
        </p:blipFill>
        <p:spPr>
          <a:xfrm>
            <a:off x="5390947" y="4699932"/>
            <a:ext cx="63899" cy="76629"/>
          </a:xfrm>
          <a:prstGeom prst="rect">
            <a:avLst/>
          </a:prstGeom>
        </p:spPr>
      </p:pic>
      <p:grpSp>
        <p:nvGrpSpPr>
          <p:cNvPr id="36" name="object 36"/>
          <p:cNvGrpSpPr/>
          <p:nvPr/>
        </p:nvGrpSpPr>
        <p:grpSpPr>
          <a:xfrm>
            <a:off x="6086030" y="4112097"/>
            <a:ext cx="188293" cy="305184"/>
            <a:chOff x="4336638" y="4534729"/>
            <a:chExt cx="207645" cy="336550"/>
          </a:xfrm>
        </p:grpSpPr>
        <p:sp>
          <p:nvSpPr>
            <p:cNvPr id="37" name="object 37"/>
            <p:cNvSpPr/>
            <p:nvPr/>
          </p:nvSpPr>
          <p:spPr>
            <a:xfrm>
              <a:off x="4336638" y="4705764"/>
              <a:ext cx="137795" cy="165100"/>
            </a:xfrm>
            <a:custGeom>
              <a:avLst/>
              <a:gdLst/>
              <a:ahLst/>
              <a:cxnLst/>
              <a:rect l="l" t="t" r="r" b="b"/>
              <a:pathLst>
                <a:path w="137795" h="165100">
                  <a:moveTo>
                    <a:pt x="6574" y="104711"/>
                  </a:moveTo>
                  <a:lnTo>
                    <a:pt x="0" y="72955"/>
                  </a:lnTo>
                  <a:lnTo>
                    <a:pt x="3501" y="42601"/>
                  </a:lnTo>
                  <a:lnTo>
                    <a:pt x="17264" y="17401"/>
                  </a:lnTo>
                  <a:lnTo>
                    <a:pt x="39129" y="2438"/>
                  </a:lnTo>
                  <a:lnTo>
                    <a:pt x="64724" y="0"/>
                  </a:lnTo>
                  <a:lnTo>
                    <a:pt x="90917" y="9648"/>
                  </a:lnTo>
                  <a:lnTo>
                    <a:pt x="114577" y="30945"/>
                  </a:lnTo>
                  <a:lnTo>
                    <a:pt x="131049" y="60345"/>
                  </a:lnTo>
                  <a:lnTo>
                    <a:pt x="137626" y="92098"/>
                  </a:lnTo>
                  <a:lnTo>
                    <a:pt x="134126" y="122452"/>
                  </a:lnTo>
                  <a:lnTo>
                    <a:pt x="120363" y="147652"/>
                  </a:lnTo>
                  <a:lnTo>
                    <a:pt x="98498" y="162616"/>
                  </a:lnTo>
                  <a:lnTo>
                    <a:pt x="72902" y="165054"/>
                  </a:lnTo>
                  <a:lnTo>
                    <a:pt x="46705" y="155408"/>
                  </a:lnTo>
                  <a:lnTo>
                    <a:pt x="23039" y="134114"/>
                  </a:lnTo>
                  <a:lnTo>
                    <a:pt x="6574" y="104711"/>
                  </a:lnTo>
                  <a:close/>
                </a:path>
              </a:pathLst>
            </a:custGeom>
            <a:solidFill>
              <a:srgbClr val="C51A1B"/>
            </a:solidFill>
          </p:spPr>
          <p:txBody>
            <a:bodyPr wrap="square" lIns="0" tIns="0" rIns="0" bIns="0" rtlCol="0"/>
            <a:lstStyle/>
            <a:p>
              <a:endParaRPr/>
            </a:p>
          </p:txBody>
        </p:sp>
        <p:pic>
          <p:nvPicPr>
            <p:cNvPr id="38" name="object 38"/>
            <p:cNvPicPr/>
            <p:nvPr/>
          </p:nvPicPr>
          <p:blipFill>
            <a:blip r:embed="rId21" cstate="print"/>
            <a:stretch>
              <a:fillRect/>
            </a:stretch>
          </p:blipFill>
          <p:spPr>
            <a:xfrm>
              <a:off x="4434093" y="4534729"/>
              <a:ext cx="110100" cy="132041"/>
            </a:xfrm>
            <a:prstGeom prst="rect">
              <a:avLst/>
            </a:prstGeom>
          </p:spPr>
        </p:pic>
      </p:grpSp>
      <p:pic>
        <p:nvPicPr>
          <p:cNvPr id="39" name="object 39"/>
          <p:cNvPicPr/>
          <p:nvPr/>
        </p:nvPicPr>
        <p:blipFill>
          <a:blip r:embed="rId22" cstate="print"/>
          <a:stretch>
            <a:fillRect/>
          </a:stretch>
        </p:blipFill>
        <p:spPr>
          <a:xfrm>
            <a:off x="6230053" y="3939782"/>
            <a:ext cx="79869" cy="95785"/>
          </a:xfrm>
          <a:prstGeom prst="rect">
            <a:avLst/>
          </a:prstGeom>
        </p:spPr>
      </p:pic>
      <p:pic>
        <p:nvPicPr>
          <p:cNvPr id="40" name="object 40"/>
          <p:cNvPicPr/>
          <p:nvPr/>
        </p:nvPicPr>
        <p:blipFill>
          <a:blip r:embed="rId23" cstate="print"/>
          <a:stretch>
            <a:fillRect/>
          </a:stretch>
        </p:blipFill>
        <p:spPr>
          <a:xfrm>
            <a:off x="6245795" y="3736411"/>
            <a:ext cx="63896" cy="76633"/>
          </a:xfrm>
          <a:prstGeom prst="rect">
            <a:avLst/>
          </a:prstGeom>
        </p:spPr>
      </p:pic>
      <p:sp>
        <p:nvSpPr>
          <p:cNvPr id="41" name="object 41"/>
          <p:cNvSpPr/>
          <p:nvPr/>
        </p:nvSpPr>
        <p:spPr>
          <a:xfrm>
            <a:off x="6236888" y="3563745"/>
            <a:ext cx="51248" cy="61613"/>
          </a:xfrm>
          <a:custGeom>
            <a:avLst/>
            <a:gdLst/>
            <a:ahLst/>
            <a:cxnLst/>
            <a:rect l="l" t="t" r="r" b="b"/>
            <a:pathLst>
              <a:path w="56514" h="67945">
                <a:moveTo>
                  <a:pt x="2696" y="42891"/>
                </a:moveTo>
                <a:lnTo>
                  <a:pt x="0" y="29882"/>
                </a:lnTo>
                <a:lnTo>
                  <a:pt x="1433" y="17448"/>
                </a:lnTo>
                <a:lnTo>
                  <a:pt x="7072" y="7129"/>
                </a:lnTo>
                <a:lnTo>
                  <a:pt x="16028" y="998"/>
                </a:lnTo>
                <a:lnTo>
                  <a:pt x="26512" y="0"/>
                </a:lnTo>
                <a:lnTo>
                  <a:pt x="37242" y="3954"/>
                </a:lnTo>
                <a:lnTo>
                  <a:pt x="46934" y="12682"/>
                </a:lnTo>
                <a:lnTo>
                  <a:pt x="53684" y="24728"/>
                </a:lnTo>
                <a:lnTo>
                  <a:pt x="56380" y="37737"/>
                </a:lnTo>
                <a:lnTo>
                  <a:pt x="54947" y="50171"/>
                </a:lnTo>
                <a:lnTo>
                  <a:pt x="49307" y="60490"/>
                </a:lnTo>
                <a:lnTo>
                  <a:pt x="40349" y="66614"/>
                </a:lnTo>
                <a:lnTo>
                  <a:pt x="29863" y="67611"/>
                </a:lnTo>
                <a:lnTo>
                  <a:pt x="19134" y="63658"/>
                </a:lnTo>
                <a:lnTo>
                  <a:pt x="9446" y="54937"/>
                </a:lnTo>
                <a:lnTo>
                  <a:pt x="2696" y="42891"/>
                </a:lnTo>
                <a:close/>
              </a:path>
            </a:pathLst>
          </a:custGeom>
          <a:solidFill>
            <a:srgbClr val="C51A1B"/>
          </a:solidFill>
        </p:spPr>
        <p:txBody>
          <a:bodyPr wrap="square" lIns="0" tIns="0" rIns="0" bIns="0" rtlCol="0"/>
          <a:lstStyle/>
          <a:p>
            <a:endParaRPr/>
          </a:p>
        </p:txBody>
      </p:sp>
      <p:sp>
        <p:nvSpPr>
          <p:cNvPr id="42" name="object 42"/>
          <p:cNvSpPr/>
          <p:nvPr/>
        </p:nvSpPr>
        <p:spPr>
          <a:xfrm>
            <a:off x="6207383" y="3404411"/>
            <a:ext cx="41459" cy="49520"/>
          </a:xfrm>
          <a:custGeom>
            <a:avLst/>
            <a:gdLst/>
            <a:ahLst/>
            <a:cxnLst/>
            <a:rect l="l" t="t" r="r" b="b"/>
            <a:pathLst>
              <a:path w="45720" h="54610">
                <a:moveTo>
                  <a:pt x="2154" y="34317"/>
                </a:moveTo>
                <a:lnTo>
                  <a:pt x="0" y="23910"/>
                </a:lnTo>
                <a:lnTo>
                  <a:pt x="1147" y="13965"/>
                </a:lnTo>
                <a:lnTo>
                  <a:pt x="5660" y="5710"/>
                </a:lnTo>
                <a:lnTo>
                  <a:pt x="12824" y="802"/>
                </a:lnTo>
                <a:lnTo>
                  <a:pt x="21210" y="0"/>
                </a:lnTo>
                <a:lnTo>
                  <a:pt x="29794" y="3158"/>
                </a:lnTo>
                <a:lnTo>
                  <a:pt x="37551" y="10134"/>
                </a:lnTo>
                <a:lnTo>
                  <a:pt x="42948" y="19775"/>
                </a:lnTo>
                <a:lnTo>
                  <a:pt x="45102" y="30180"/>
                </a:lnTo>
                <a:lnTo>
                  <a:pt x="43953" y="40123"/>
                </a:lnTo>
                <a:lnTo>
                  <a:pt x="39440" y="48377"/>
                </a:lnTo>
                <a:lnTo>
                  <a:pt x="32274" y="53279"/>
                </a:lnTo>
                <a:lnTo>
                  <a:pt x="23888" y="54083"/>
                </a:lnTo>
                <a:lnTo>
                  <a:pt x="15305" y="50927"/>
                </a:lnTo>
                <a:lnTo>
                  <a:pt x="7548" y="43952"/>
                </a:lnTo>
                <a:lnTo>
                  <a:pt x="2154" y="34317"/>
                </a:lnTo>
                <a:close/>
              </a:path>
            </a:pathLst>
          </a:custGeom>
          <a:solidFill>
            <a:srgbClr val="C51A1B"/>
          </a:solidFill>
        </p:spPr>
        <p:txBody>
          <a:bodyPr wrap="square" lIns="0" tIns="0" rIns="0" bIns="0" rtlCol="0"/>
          <a:lstStyle/>
          <a:p>
            <a:endParaRPr/>
          </a:p>
        </p:txBody>
      </p:sp>
      <p:sp>
        <p:nvSpPr>
          <p:cNvPr id="43" name="object 43"/>
          <p:cNvSpPr/>
          <p:nvPr/>
        </p:nvSpPr>
        <p:spPr>
          <a:xfrm>
            <a:off x="6158589" y="3250271"/>
            <a:ext cx="32822" cy="39731"/>
          </a:xfrm>
          <a:custGeom>
            <a:avLst/>
            <a:gdLst/>
            <a:ahLst/>
            <a:cxnLst/>
            <a:rect l="l" t="t" r="r" b="b"/>
            <a:pathLst>
              <a:path w="36195" h="43814">
                <a:moveTo>
                  <a:pt x="1723" y="27446"/>
                </a:moveTo>
                <a:lnTo>
                  <a:pt x="0" y="19123"/>
                </a:lnTo>
                <a:lnTo>
                  <a:pt x="916" y="11170"/>
                </a:lnTo>
                <a:lnTo>
                  <a:pt x="4521" y="4568"/>
                </a:lnTo>
                <a:lnTo>
                  <a:pt x="10253" y="640"/>
                </a:lnTo>
                <a:lnTo>
                  <a:pt x="16963" y="0"/>
                </a:lnTo>
                <a:lnTo>
                  <a:pt x="23833" y="2529"/>
                </a:lnTo>
                <a:lnTo>
                  <a:pt x="30042" y="8112"/>
                </a:lnTo>
                <a:lnTo>
                  <a:pt x="34355" y="15816"/>
                </a:lnTo>
                <a:lnTo>
                  <a:pt x="36074" y="24139"/>
                </a:lnTo>
                <a:lnTo>
                  <a:pt x="35154" y="32097"/>
                </a:lnTo>
                <a:lnTo>
                  <a:pt x="31550" y="38705"/>
                </a:lnTo>
                <a:lnTo>
                  <a:pt x="25821" y="42626"/>
                </a:lnTo>
                <a:lnTo>
                  <a:pt x="19112" y="43267"/>
                </a:lnTo>
                <a:lnTo>
                  <a:pt x="12245" y="40740"/>
                </a:lnTo>
                <a:lnTo>
                  <a:pt x="6041" y="35156"/>
                </a:lnTo>
                <a:lnTo>
                  <a:pt x="1723" y="27446"/>
                </a:lnTo>
                <a:close/>
              </a:path>
            </a:pathLst>
          </a:custGeom>
          <a:solidFill>
            <a:srgbClr val="C51A1B"/>
          </a:solidFill>
        </p:spPr>
        <p:txBody>
          <a:bodyPr wrap="square" lIns="0" tIns="0" rIns="0" bIns="0" rtlCol="0"/>
          <a:lstStyle/>
          <a:p>
            <a:endParaRPr/>
          </a:p>
        </p:txBody>
      </p:sp>
      <p:sp>
        <p:nvSpPr>
          <p:cNvPr id="44" name="object 44"/>
          <p:cNvSpPr/>
          <p:nvPr/>
        </p:nvSpPr>
        <p:spPr>
          <a:xfrm>
            <a:off x="6100629" y="3118201"/>
            <a:ext cx="26487" cy="35701"/>
          </a:xfrm>
          <a:custGeom>
            <a:avLst/>
            <a:gdLst/>
            <a:ahLst/>
            <a:cxnLst/>
            <a:rect l="l" t="t" r="r" b="b"/>
            <a:pathLst>
              <a:path w="29210" h="39370">
                <a:moveTo>
                  <a:pt x="1378" y="24287"/>
                </a:moveTo>
                <a:lnTo>
                  <a:pt x="0" y="17628"/>
                </a:lnTo>
                <a:lnTo>
                  <a:pt x="735" y="11261"/>
                </a:lnTo>
                <a:lnTo>
                  <a:pt x="3622" y="5971"/>
                </a:lnTo>
                <a:lnTo>
                  <a:pt x="8918" y="0"/>
                </a:lnTo>
                <a:lnTo>
                  <a:pt x="18064" y="1281"/>
                </a:lnTo>
                <a:lnTo>
                  <a:pt x="24032" y="8815"/>
                </a:lnTo>
                <a:lnTo>
                  <a:pt x="27488" y="14983"/>
                </a:lnTo>
                <a:lnTo>
                  <a:pt x="28868" y="21645"/>
                </a:lnTo>
                <a:lnTo>
                  <a:pt x="28133" y="28013"/>
                </a:lnTo>
                <a:lnTo>
                  <a:pt x="25243" y="33299"/>
                </a:lnTo>
                <a:lnTo>
                  <a:pt x="19931" y="39264"/>
                </a:lnTo>
                <a:lnTo>
                  <a:pt x="10807" y="38000"/>
                </a:lnTo>
                <a:lnTo>
                  <a:pt x="4833" y="30454"/>
                </a:lnTo>
                <a:lnTo>
                  <a:pt x="1378" y="24287"/>
                </a:lnTo>
                <a:close/>
              </a:path>
            </a:pathLst>
          </a:custGeom>
          <a:solidFill>
            <a:srgbClr val="C51A1B"/>
          </a:solidFill>
        </p:spPr>
        <p:txBody>
          <a:bodyPr wrap="square" lIns="0" tIns="0" rIns="0" bIns="0" rtlCol="0"/>
          <a:lstStyle/>
          <a:p>
            <a:endParaRPr/>
          </a:p>
        </p:txBody>
      </p:sp>
      <p:sp>
        <p:nvSpPr>
          <p:cNvPr id="45" name="object 45"/>
          <p:cNvSpPr/>
          <p:nvPr/>
        </p:nvSpPr>
        <p:spPr>
          <a:xfrm>
            <a:off x="6020044" y="2993641"/>
            <a:ext cx="23608" cy="28791"/>
          </a:xfrm>
          <a:custGeom>
            <a:avLst/>
            <a:gdLst/>
            <a:ahLst/>
            <a:cxnLst/>
            <a:rect l="l" t="t" r="r" b="b"/>
            <a:pathLst>
              <a:path w="26035" h="31750">
                <a:moveTo>
                  <a:pt x="435" y="18327"/>
                </a:moveTo>
                <a:lnTo>
                  <a:pt x="0" y="9564"/>
                </a:lnTo>
                <a:lnTo>
                  <a:pt x="8487" y="0"/>
                </a:lnTo>
                <a:lnTo>
                  <a:pt x="15789" y="1015"/>
                </a:lnTo>
                <a:lnTo>
                  <a:pt x="25342" y="13085"/>
                </a:lnTo>
                <a:lnTo>
                  <a:pt x="25777" y="21848"/>
                </a:lnTo>
                <a:lnTo>
                  <a:pt x="21542" y="26633"/>
                </a:lnTo>
                <a:lnTo>
                  <a:pt x="17295" y="31424"/>
                </a:lnTo>
                <a:lnTo>
                  <a:pt x="9988" y="30396"/>
                </a:lnTo>
                <a:lnTo>
                  <a:pt x="435" y="18327"/>
                </a:lnTo>
                <a:close/>
              </a:path>
            </a:pathLst>
          </a:custGeom>
          <a:solidFill>
            <a:srgbClr val="C51A1B"/>
          </a:solidFill>
        </p:spPr>
        <p:txBody>
          <a:bodyPr wrap="square" lIns="0" tIns="0" rIns="0" bIns="0" rtlCol="0"/>
          <a:lstStyle/>
          <a:p>
            <a:endParaRPr/>
          </a:p>
        </p:txBody>
      </p:sp>
      <p:sp>
        <p:nvSpPr>
          <p:cNvPr id="46" name="object 46"/>
          <p:cNvSpPr/>
          <p:nvPr/>
        </p:nvSpPr>
        <p:spPr>
          <a:xfrm>
            <a:off x="5781795" y="3951060"/>
            <a:ext cx="342036" cy="458351"/>
          </a:xfrm>
          <a:custGeom>
            <a:avLst/>
            <a:gdLst/>
            <a:ahLst/>
            <a:cxnLst/>
            <a:rect l="l" t="t" r="r" b="b"/>
            <a:pathLst>
              <a:path w="377189" h="505460">
                <a:moveTo>
                  <a:pt x="70624" y="469823"/>
                </a:moveTo>
                <a:lnTo>
                  <a:pt x="67729" y="453529"/>
                </a:lnTo>
                <a:lnTo>
                  <a:pt x="60083" y="438670"/>
                </a:lnTo>
                <a:lnTo>
                  <a:pt x="48323" y="427126"/>
                </a:lnTo>
                <a:lnTo>
                  <a:pt x="34531" y="421297"/>
                </a:lnTo>
                <a:lnTo>
                  <a:pt x="21310" y="421970"/>
                </a:lnTo>
                <a:lnTo>
                  <a:pt x="10134" y="428713"/>
                </a:lnTo>
                <a:lnTo>
                  <a:pt x="2489" y="441071"/>
                </a:lnTo>
                <a:lnTo>
                  <a:pt x="0" y="456933"/>
                </a:lnTo>
                <a:lnTo>
                  <a:pt x="2895" y="473227"/>
                </a:lnTo>
                <a:lnTo>
                  <a:pt x="10541" y="488086"/>
                </a:lnTo>
                <a:lnTo>
                  <a:pt x="22275" y="499618"/>
                </a:lnTo>
                <a:lnTo>
                  <a:pt x="36093" y="505447"/>
                </a:lnTo>
                <a:lnTo>
                  <a:pt x="49314" y="504774"/>
                </a:lnTo>
                <a:lnTo>
                  <a:pt x="60490" y="498030"/>
                </a:lnTo>
                <a:lnTo>
                  <a:pt x="68135" y="485686"/>
                </a:lnTo>
                <a:lnTo>
                  <a:pt x="70624" y="469823"/>
                </a:lnTo>
                <a:close/>
              </a:path>
              <a:path w="377189" h="505460">
                <a:moveTo>
                  <a:pt x="190042" y="374738"/>
                </a:moveTo>
                <a:lnTo>
                  <a:pt x="186423" y="354368"/>
                </a:lnTo>
                <a:lnTo>
                  <a:pt x="176872" y="335800"/>
                </a:lnTo>
                <a:lnTo>
                  <a:pt x="162179" y="321386"/>
                </a:lnTo>
                <a:lnTo>
                  <a:pt x="144932" y="314096"/>
                </a:lnTo>
                <a:lnTo>
                  <a:pt x="128397" y="314947"/>
                </a:lnTo>
                <a:lnTo>
                  <a:pt x="114427" y="323367"/>
                </a:lnTo>
                <a:lnTo>
                  <a:pt x="104863" y="338810"/>
                </a:lnTo>
                <a:lnTo>
                  <a:pt x="101752" y="358635"/>
                </a:lnTo>
                <a:lnTo>
                  <a:pt x="105371" y="379006"/>
                </a:lnTo>
                <a:lnTo>
                  <a:pt x="114935" y="397573"/>
                </a:lnTo>
                <a:lnTo>
                  <a:pt x="129616" y="411988"/>
                </a:lnTo>
                <a:lnTo>
                  <a:pt x="146875" y="419277"/>
                </a:lnTo>
                <a:lnTo>
                  <a:pt x="163398" y="418439"/>
                </a:lnTo>
                <a:lnTo>
                  <a:pt x="177368" y="410019"/>
                </a:lnTo>
                <a:lnTo>
                  <a:pt x="186931" y="394563"/>
                </a:lnTo>
                <a:lnTo>
                  <a:pt x="190042" y="374738"/>
                </a:lnTo>
                <a:close/>
              </a:path>
              <a:path w="377189" h="505460">
                <a:moveTo>
                  <a:pt x="294411" y="251345"/>
                </a:moveTo>
                <a:lnTo>
                  <a:pt x="289890" y="225869"/>
                </a:lnTo>
                <a:lnTo>
                  <a:pt x="277939" y="202653"/>
                </a:lnTo>
                <a:lnTo>
                  <a:pt x="259575" y="184632"/>
                </a:lnTo>
                <a:lnTo>
                  <a:pt x="238023" y="175526"/>
                </a:lnTo>
                <a:lnTo>
                  <a:pt x="217360" y="176580"/>
                </a:lnTo>
                <a:lnTo>
                  <a:pt x="199898" y="187121"/>
                </a:lnTo>
                <a:lnTo>
                  <a:pt x="187947" y="206425"/>
                </a:lnTo>
                <a:lnTo>
                  <a:pt x="184061" y="231203"/>
                </a:lnTo>
                <a:lnTo>
                  <a:pt x="188582" y="256667"/>
                </a:lnTo>
                <a:lnTo>
                  <a:pt x="200520" y="279882"/>
                </a:lnTo>
                <a:lnTo>
                  <a:pt x="218871" y="297891"/>
                </a:lnTo>
                <a:lnTo>
                  <a:pt x="240449" y="307009"/>
                </a:lnTo>
                <a:lnTo>
                  <a:pt x="261112" y="305943"/>
                </a:lnTo>
                <a:lnTo>
                  <a:pt x="278561" y="295414"/>
                </a:lnTo>
                <a:lnTo>
                  <a:pt x="290512" y="276110"/>
                </a:lnTo>
                <a:lnTo>
                  <a:pt x="294411" y="251345"/>
                </a:lnTo>
                <a:close/>
              </a:path>
              <a:path w="377189" h="505460">
                <a:moveTo>
                  <a:pt x="376948" y="94767"/>
                </a:moveTo>
                <a:lnTo>
                  <a:pt x="371297" y="62928"/>
                </a:lnTo>
                <a:lnTo>
                  <a:pt x="356362" y="33909"/>
                </a:lnTo>
                <a:lnTo>
                  <a:pt x="333413" y="11391"/>
                </a:lnTo>
                <a:lnTo>
                  <a:pt x="306463" y="0"/>
                </a:lnTo>
                <a:lnTo>
                  <a:pt x="280631" y="1333"/>
                </a:lnTo>
                <a:lnTo>
                  <a:pt x="258826" y="14490"/>
                </a:lnTo>
                <a:lnTo>
                  <a:pt x="243890" y="38620"/>
                </a:lnTo>
                <a:lnTo>
                  <a:pt x="239014" y="69596"/>
                </a:lnTo>
                <a:lnTo>
                  <a:pt x="244665" y="101422"/>
                </a:lnTo>
                <a:lnTo>
                  <a:pt x="259588" y="130441"/>
                </a:lnTo>
                <a:lnTo>
                  <a:pt x="282549" y="152958"/>
                </a:lnTo>
                <a:lnTo>
                  <a:pt x="309499" y="164350"/>
                </a:lnTo>
                <a:lnTo>
                  <a:pt x="335330" y="163029"/>
                </a:lnTo>
                <a:lnTo>
                  <a:pt x="357149" y="149872"/>
                </a:lnTo>
                <a:lnTo>
                  <a:pt x="372084" y="125742"/>
                </a:lnTo>
                <a:lnTo>
                  <a:pt x="376948" y="94767"/>
                </a:lnTo>
                <a:close/>
              </a:path>
            </a:pathLst>
          </a:custGeom>
          <a:solidFill>
            <a:srgbClr val="C51A1B"/>
          </a:solidFill>
        </p:spPr>
        <p:txBody>
          <a:bodyPr wrap="square" lIns="0" tIns="0" rIns="0" bIns="0" rtlCol="0"/>
          <a:lstStyle/>
          <a:p>
            <a:endParaRPr/>
          </a:p>
        </p:txBody>
      </p:sp>
      <p:sp>
        <p:nvSpPr>
          <p:cNvPr id="47" name="object 47"/>
          <p:cNvSpPr/>
          <p:nvPr/>
        </p:nvSpPr>
        <p:spPr>
          <a:xfrm>
            <a:off x="5661795" y="4398247"/>
            <a:ext cx="51248" cy="61613"/>
          </a:xfrm>
          <a:custGeom>
            <a:avLst/>
            <a:gdLst/>
            <a:ahLst/>
            <a:cxnLst/>
            <a:rect l="l" t="t" r="r" b="b"/>
            <a:pathLst>
              <a:path w="56514" h="67945">
                <a:moveTo>
                  <a:pt x="2313" y="41542"/>
                </a:moveTo>
                <a:lnTo>
                  <a:pt x="0" y="28504"/>
                </a:lnTo>
                <a:lnTo>
                  <a:pt x="1993" y="15820"/>
                </a:lnTo>
                <a:lnTo>
                  <a:pt x="8108" y="5934"/>
                </a:lnTo>
                <a:lnTo>
                  <a:pt x="17045" y="541"/>
                </a:lnTo>
                <a:lnTo>
                  <a:pt x="27622" y="0"/>
                </a:lnTo>
                <a:lnTo>
                  <a:pt x="38663" y="4667"/>
                </a:lnTo>
                <a:lnTo>
                  <a:pt x="48065" y="13892"/>
                </a:lnTo>
                <a:lnTo>
                  <a:pt x="54178" y="25778"/>
                </a:lnTo>
                <a:lnTo>
                  <a:pt x="56493" y="38819"/>
                </a:lnTo>
                <a:lnTo>
                  <a:pt x="54502" y="51510"/>
                </a:lnTo>
                <a:lnTo>
                  <a:pt x="48384" y="61389"/>
                </a:lnTo>
                <a:lnTo>
                  <a:pt x="39446" y="66779"/>
                </a:lnTo>
                <a:lnTo>
                  <a:pt x="28867" y="67319"/>
                </a:lnTo>
                <a:lnTo>
                  <a:pt x="17827" y="62651"/>
                </a:lnTo>
                <a:lnTo>
                  <a:pt x="8425" y="53426"/>
                </a:lnTo>
                <a:lnTo>
                  <a:pt x="2313" y="41542"/>
                </a:lnTo>
                <a:close/>
              </a:path>
            </a:pathLst>
          </a:custGeom>
          <a:solidFill>
            <a:srgbClr val="C51A1B"/>
          </a:solidFill>
        </p:spPr>
        <p:txBody>
          <a:bodyPr wrap="square" lIns="0" tIns="0" rIns="0" bIns="0" rtlCol="0"/>
          <a:lstStyle/>
          <a:p>
            <a:endParaRPr/>
          </a:p>
        </p:txBody>
      </p:sp>
      <p:pic>
        <p:nvPicPr>
          <p:cNvPr id="48" name="object 48"/>
          <p:cNvPicPr/>
          <p:nvPr/>
        </p:nvPicPr>
        <p:blipFill>
          <a:blip r:embed="rId24" cstate="print"/>
          <a:stretch>
            <a:fillRect/>
          </a:stretch>
        </p:blipFill>
        <p:spPr>
          <a:xfrm>
            <a:off x="6056976" y="3808928"/>
            <a:ext cx="100061" cy="119224"/>
          </a:xfrm>
          <a:prstGeom prst="rect">
            <a:avLst/>
          </a:prstGeom>
        </p:spPr>
      </p:pic>
      <p:pic>
        <p:nvPicPr>
          <p:cNvPr id="49" name="object 49"/>
          <p:cNvPicPr/>
          <p:nvPr/>
        </p:nvPicPr>
        <p:blipFill>
          <a:blip r:embed="rId25" cstate="print"/>
          <a:stretch>
            <a:fillRect/>
          </a:stretch>
        </p:blipFill>
        <p:spPr>
          <a:xfrm>
            <a:off x="6081264" y="3659304"/>
            <a:ext cx="80051" cy="95393"/>
          </a:xfrm>
          <a:prstGeom prst="rect">
            <a:avLst/>
          </a:prstGeom>
        </p:spPr>
      </p:pic>
      <p:pic>
        <p:nvPicPr>
          <p:cNvPr id="50" name="object 50"/>
          <p:cNvPicPr/>
          <p:nvPr/>
        </p:nvPicPr>
        <p:blipFill>
          <a:blip r:embed="rId26" cstate="print"/>
          <a:stretch>
            <a:fillRect/>
          </a:stretch>
        </p:blipFill>
        <p:spPr>
          <a:xfrm>
            <a:off x="6078997" y="3506045"/>
            <a:ext cx="64032" cy="76300"/>
          </a:xfrm>
          <a:prstGeom prst="rect">
            <a:avLst/>
          </a:prstGeom>
        </p:spPr>
      </p:pic>
      <p:sp>
        <p:nvSpPr>
          <p:cNvPr id="51" name="object 51"/>
          <p:cNvSpPr/>
          <p:nvPr/>
        </p:nvSpPr>
        <p:spPr>
          <a:xfrm>
            <a:off x="6041834" y="3340640"/>
            <a:ext cx="51248" cy="61037"/>
          </a:xfrm>
          <a:custGeom>
            <a:avLst/>
            <a:gdLst/>
            <a:ahLst/>
            <a:cxnLst/>
            <a:rect l="l" t="t" r="r" b="b"/>
            <a:pathLst>
              <a:path w="56514" h="67310">
                <a:moveTo>
                  <a:pt x="2313" y="41541"/>
                </a:moveTo>
                <a:lnTo>
                  <a:pt x="0" y="28504"/>
                </a:lnTo>
                <a:lnTo>
                  <a:pt x="1991" y="15815"/>
                </a:lnTo>
                <a:lnTo>
                  <a:pt x="8106" y="5929"/>
                </a:lnTo>
                <a:lnTo>
                  <a:pt x="17043" y="537"/>
                </a:lnTo>
                <a:lnTo>
                  <a:pt x="27622" y="0"/>
                </a:lnTo>
                <a:lnTo>
                  <a:pt x="38666" y="4674"/>
                </a:lnTo>
                <a:lnTo>
                  <a:pt x="48068" y="13897"/>
                </a:lnTo>
                <a:lnTo>
                  <a:pt x="54178" y="25779"/>
                </a:lnTo>
                <a:lnTo>
                  <a:pt x="56491" y="38816"/>
                </a:lnTo>
                <a:lnTo>
                  <a:pt x="54500" y="51505"/>
                </a:lnTo>
                <a:lnTo>
                  <a:pt x="48381" y="61385"/>
                </a:lnTo>
                <a:lnTo>
                  <a:pt x="39444" y="66774"/>
                </a:lnTo>
                <a:lnTo>
                  <a:pt x="28865" y="67314"/>
                </a:lnTo>
                <a:lnTo>
                  <a:pt x="17825" y="62646"/>
                </a:lnTo>
                <a:lnTo>
                  <a:pt x="8423" y="53423"/>
                </a:lnTo>
                <a:lnTo>
                  <a:pt x="2313" y="41541"/>
                </a:lnTo>
                <a:close/>
              </a:path>
            </a:pathLst>
          </a:custGeom>
          <a:solidFill>
            <a:srgbClr val="C51A1B"/>
          </a:solidFill>
        </p:spPr>
        <p:txBody>
          <a:bodyPr wrap="square" lIns="0" tIns="0" rIns="0" bIns="0" rtlCol="0"/>
          <a:lstStyle/>
          <a:p>
            <a:endParaRPr/>
          </a:p>
        </p:txBody>
      </p:sp>
      <p:sp>
        <p:nvSpPr>
          <p:cNvPr id="52" name="object 52"/>
          <p:cNvSpPr/>
          <p:nvPr/>
        </p:nvSpPr>
        <p:spPr>
          <a:xfrm>
            <a:off x="5994678" y="3207539"/>
            <a:ext cx="41459" cy="48945"/>
          </a:xfrm>
          <a:custGeom>
            <a:avLst/>
            <a:gdLst/>
            <a:ahLst/>
            <a:cxnLst/>
            <a:rect l="l" t="t" r="r" b="b"/>
            <a:pathLst>
              <a:path w="45720" h="53975">
                <a:moveTo>
                  <a:pt x="1850" y="33234"/>
                </a:moveTo>
                <a:lnTo>
                  <a:pt x="0" y="22802"/>
                </a:lnTo>
                <a:lnTo>
                  <a:pt x="1595" y="12655"/>
                </a:lnTo>
                <a:lnTo>
                  <a:pt x="6485" y="4752"/>
                </a:lnTo>
                <a:lnTo>
                  <a:pt x="13633" y="437"/>
                </a:lnTo>
                <a:lnTo>
                  <a:pt x="22095" y="0"/>
                </a:lnTo>
                <a:lnTo>
                  <a:pt x="30926" y="3729"/>
                </a:lnTo>
                <a:lnTo>
                  <a:pt x="38451" y="11113"/>
                </a:lnTo>
                <a:lnTo>
                  <a:pt x="43343" y="20623"/>
                </a:lnTo>
                <a:lnTo>
                  <a:pt x="45197" y="31057"/>
                </a:lnTo>
                <a:lnTo>
                  <a:pt x="43605" y="41212"/>
                </a:lnTo>
                <a:lnTo>
                  <a:pt x="38707" y="49110"/>
                </a:lnTo>
                <a:lnTo>
                  <a:pt x="31556" y="53422"/>
                </a:lnTo>
                <a:lnTo>
                  <a:pt x="23093" y="53859"/>
                </a:lnTo>
                <a:lnTo>
                  <a:pt x="14256" y="50131"/>
                </a:lnTo>
                <a:lnTo>
                  <a:pt x="6739" y="42744"/>
                </a:lnTo>
                <a:lnTo>
                  <a:pt x="1850" y="33234"/>
                </a:lnTo>
                <a:close/>
              </a:path>
            </a:pathLst>
          </a:custGeom>
          <a:solidFill>
            <a:srgbClr val="C51A1B"/>
          </a:solidFill>
        </p:spPr>
        <p:txBody>
          <a:bodyPr wrap="square" lIns="0" tIns="0" rIns="0" bIns="0" rtlCol="0"/>
          <a:lstStyle/>
          <a:p>
            <a:endParaRPr/>
          </a:p>
        </p:txBody>
      </p:sp>
      <p:sp>
        <p:nvSpPr>
          <p:cNvPr id="53" name="object 53"/>
          <p:cNvSpPr/>
          <p:nvPr/>
        </p:nvSpPr>
        <p:spPr>
          <a:xfrm>
            <a:off x="5936311" y="3091597"/>
            <a:ext cx="32822" cy="39156"/>
          </a:xfrm>
          <a:custGeom>
            <a:avLst/>
            <a:gdLst/>
            <a:ahLst/>
            <a:cxnLst/>
            <a:rect l="l" t="t" r="r" b="b"/>
            <a:pathLst>
              <a:path w="36195" h="43179">
                <a:moveTo>
                  <a:pt x="1483" y="26582"/>
                </a:moveTo>
                <a:lnTo>
                  <a:pt x="0" y="18236"/>
                </a:lnTo>
                <a:lnTo>
                  <a:pt x="1272" y="10117"/>
                </a:lnTo>
                <a:lnTo>
                  <a:pt x="5187" y="3793"/>
                </a:lnTo>
                <a:lnTo>
                  <a:pt x="10909" y="344"/>
                </a:lnTo>
                <a:lnTo>
                  <a:pt x="17681" y="0"/>
                </a:lnTo>
                <a:lnTo>
                  <a:pt x="24745" y="2987"/>
                </a:lnTo>
                <a:lnTo>
                  <a:pt x="30757" y="8885"/>
                </a:lnTo>
                <a:lnTo>
                  <a:pt x="34669" y="16491"/>
                </a:lnTo>
                <a:lnTo>
                  <a:pt x="36153" y="24838"/>
                </a:lnTo>
                <a:lnTo>
                  <a:pt x="34881" y="32959"/>
                </a:lnTo>
                <a:lnTo>
                  <a:pt x="30966" y="39283"/>
                </a:lnTo>
                <a:lnTo>
                  <a:pt x="25245" y="42733"/>
                </a:lnTo>
                <a:lnTo>
                  <a:pt x="18474" y="43081"/>
                </a:lnTo>
                <a:lnTo>
                  <a:pt x="11413" y="40100"/>
                </a:lnTo>
                <a:lnTo>
                  <a:pt x="5396" y="34191"/>
                </a:lnTo>
                <a:lnTo>
                  <a:pt x="1483" y="26582"/>
                </a:lnTo>
                <a:close/>
              </a:path>
            </a:pathLst>
          </a:custGeom>
          <a:solidFill>
            <a:srgbClr val="C51A1B"/>
          </a:solidFill>
        </p:spPr>
        <p:txBody>
          <a:bodyPr wrap="square" lIns="0" tIns="0" rIns="0" bIns="0" rtlCol="0"/>
          <a:lstStyle/>
          <a:p>
            <a:endParaRPr/>
          </a:p>
        </p:txBody>
      </p:sp>
      <p:sp>
        <p:nvSpPr>
          <p:cNvPr id="54" name="object 54"/>
          <p:cNvSpPr/>
          <p:nvPr/>
        </p:nvSpPr>
        <p:spPr>
          <a:xfrm>
            <a:off x="5865734" y="2983517"/>
            <a:ext cx="26487" cy="36277"/>
          </a:xfrm>
          <a:custGeom>
            <a:avLst/>
            <a:gdLst/>
            <a:ahLst/>
            <a:cxnLst/>
            <a:rect l="l" t="t" r="r" b="b"/>
            <a:pathLst>
              <a:path w="29210" h="40004">
                <a:moveTo>
                  <a:pt x="1186" y="23928"/>
                </a:moveTo>
                <a:lnTo>
                  <a:pt x="0" y="17249"/>
                </a:lnTo>
                <a:lnTo>
                  <a:pt x="1019" y="10750"/>
                </a:lnTo>
                <a:lnTo>
                  <a:pt x="3970" y="2559"/>
                </a:lnTo>
                <a:lnTo>
                  <a:pt x="12372" y="0"/>
                </a:lnTo>
                <a:lnTo>
                  <a:pt x="19792" y="5048"/>
                </a:lnTo>
                <a:lnTo>
                  <a:pt x="24608" y="9764"/>
                </a:lnTo>
                <a:lnTo>
                  <a:pt x="27739" y="15848"/>
                </a:lnTo>
                <a:lnTo>
                  <a:pt x="28926" y="22526"/>
                </a:lnTo>
                <a:lnTo>
                  <a:pt x="27907" y="29026"/>
                </a:lnTo>
                <a:lnTo>
                  <a:pt x="24961" y="37228"/>
                </a:lnTo>
                <a:lnTo>
                  <a:pt x="16559" y="39787"/>
                </a:lnTo>
                <a:lnTo>
                  <a:pt x="9133" y="34727"/>
                </a:lnTo>
                <a:lnTo>
                  <a:pt x="4318" y="30012"/>
                </a:lnTo>
                <a:lnTo>
                  <a:pt x="1186" y="23928"/>
                </a:lnTo>
                <a:close/>
              </a:path>
            </a:pathLst>
          </a:custGeom>
          <a:solidFill>
            <a:srgbClr val="C51A1B"/>
          </a:solidFill>
        </p:spPr>
        <p:txBody>
          <a:bodyPr wrap="square" lIns="0" tIns="0" rIns="0" bIns="0" rtlCol="0"/>
          <a:lstStyle/>
          <a:p>
            <a:endParaRPr/>
          </a:p>
        </p:txBody>
      </p:sp>
      <p:sp>
        <p:nvSpPr>
          <p:cNvPr id="55" name="object 55"/>
          <p:cNvSpPr/>
          <p:nvPr/>
        </p:nvSpPr>
        <p:spPr>
          <a:xfrm>
            <a:off x="5793036" y="2900488"/>
            <a:ext cx="24184" cy="29366"/>
          </a:xfrm>
          <a:custGeom>
            <a:avLst/>
            <a:gdLst/>
            <a:ahLst/>
            <a:cxnLst/>
            <a:rect l="l" t="t" r="r" b="b"/>
            <a:pathLst>
              <a:path w="26670" h="32385">
                <a:moveTo>
                  <a:pt x="2898" y="23752"/>
                </a:moveTo>
                <a:lnTo>
                  <a:pt x="0" y="15170"/>
                </a:lnTo>
                <a:lnTo>
                  <a:pt x="4708" y="2040"/>
                </a:lnTo>
                <a:lnTo>
                  <a:pt x="11433" y="0"/>
                </a:lnTo>
                <a:lnTo>
                  <a:pt x="23309" y="8081"/>
                </a:lnTo>
                <a:lnTo>
                  <a:pt x="26219" y="16657"/>
                </a:lnTo>
                <a:lnTo>
                  <a:pt x="23857" y="23219"/>
                </a:lnTo>
                <a:lnTo>
                  <a:pt x="21506" y="29775"/>
                </a:lnTo>
                <a:lnTo>
                  <a:pt x="14770" y="31822"/>
                </a:lnTo>
                <a:lnTo>
                  <a:pt x="2898" y="23752"/>
                </a:lnTo>
                <a:close/>
              </a:path>
            </a:pathLst>
          </a:custGeom>
          <a:solidFill>
            <a:srgbClr val="C51A1B"/>
          </a:solidFill>
        </p:spPr>
        <p:txBody>
          <a:bodyPr wrap="square" lIns="0" tIns="0" rIns="0" bIns="0" rtlCol="0"/>
          <a:lstStyle/>
          <a:p>
            <a:endParaRPr/>
          </a:p>
        </p:txBody>
      </p:sp>
      <p:sp>
        <p:nvSpPr>
          <p:cNvPr id="56" name="object 56"/>
          <p:cNvSpPr/>
          <p:nvPr/>
        </p:nvSpPr>
        <p:spPr>
          <a:xfrm>
            <a:off x="5708186" y="2828299"/>
            <a:ext cx="19578" cy="23608"/>
          </a:xfrm>
          <a:custGeom>
            <a:avLst/>
            <a:gdLst/>
            <a:ahLst/>
            <a:cxnLst/>
            <a:rect l="l" t="t" r="r" b="b"/>
            <a:pathLst>
              <a:path w="21589" h="26035">
                <a:moveTo>
                  <a:pt x="2332" y="18998"/>
                </a:moveTo>
                <a:lnTo>
                  <a:pt x="0" y="12122"/>
                </a:lnTo>
                <a:lnTo>
                  <a:pt x="3773" y="1626"/>
                </a:lnTo>
                <a:lnTo>
                  <a:pt x="9164" y="0"/>
                </a:lnTo>
                <a:lnTo>
                  <a:pt x="18666" y="6461"/>
                </a:lnTo>
                <a:lnTo>
                  <a:pt x="20993" y="13326"/>
                </a:lnTo>
                <a:lnTo>
                  <a:pt x="19101" y="18576"/>
                </a:lnTo>
                <a:lnTo>
                  <a:pt x="17220" y="23821"/>
                </a:lnTo>
                <a:lnTo>
                  <a:pt x="11834" y="25460"/>
                </a:lnTo>
                <a:lnTo>
                  <a:pt x="2332" y="18998"/>
                </a:lnTo>
                <a:close/>
              </a:path>
            </a:pathLst>
          </a:custGeom>
          <a:solidFill>
            <a:srgbClr val="C51A1B"/>
          </a:solidFill>
        </p:spPr>
        <p:txBody>
          <a:bodyPr wrap="square" lIns="0" tIns="0" rIns="0" bIns="0" rtlCol="0"/>
          <a:lstStyle/>
          <a:p>
            <a:endParaRPr/>
          </a:p>
        </p:txBody>
      </p:sp>
      <p:grpSp>
        <p:nvGrpSpPr>
          <p:cNvPr id="57" name="object 57"/>
          <p:cNvGrpSpPr/>
          <p:nvPr/>
        </p:nvGrpSpPr>
        <p:grpSpPr>
          <a:xfrm>
            <a:off x="5796831" y="3461002"/>
            <a:ext cx="240692" cy="661040"/>
            <a:chOff x="4017716" y="3816716"/>
            <a:chExt cx="265430" cy="728980"/>
          </a:xfrm>
        </p:grpSpPr>
        <p:pic>
          <p:nvPicPr>
            <p:cNvPr id="58" name="object 58"/>
            <p:cNvPicPr/>
            <p:nvPr/>
          </p:nvPicPr>
          <p:blipFill>
            <a:blip r:embed="rId27" cstate="print"/>
            <a:stretch>
              <a:fillRect/>
            </a:stretch>
          </p:blipFill>
          <p:spPr>
            <a:xfrm>
              <a:off x="4172635" y="3959231"/>
              <a:ext cx="110290" cy="130514"/>
            </a:xfrm>
            <a:prstGeom prst="rect">
              <a:avLst/>
            </a:prstGeom>
          </p:spPr>
        </p:pic>
        <p:pic>
          <p:nvPicPr>
            <p:cNvPr id="59" name="object 59"/>
            <p:cNvPicPr/>
            <p:nvPr/>
          </p:nvPicPr>
          <p:blipFill>
            <a:blip r:embed="rId28" cstate="print"/>
            <a:stretch>
              <a:fillRect/>
            </a:stretch>
          </p:blipFill>
          <p:spPr>
            <a:xfrm>
              <a:off x="4171949" y="4122644"/>
              <a:ext cx="88246" cy="104406"/>
            </a:xfrm>
            <a:prstGeom prst="rect">
              <a:avLst/>
            </a:prstGeom>
          </p:spPr>
        </p:pic>
        <p:sp>
          <p:nvSpPr>
            <p:cNvPr id="60" name="object 60"/>
            <p:cNvSpPr/>
            <p:nvPr/>
          </p:nvSpPr>
          <p:spPr>
            <a:xfrm>
              <a:off x="4017708" y="4264748"/>
              <a:ext cx="197485" cy="280670"/>
            </a:xfrm>
            <a:custGeom>
              <a:avLst/>
              <a:gdLst/>
              <a:ahLst/>
              <a:cxnLst/>
              <a:rect l="l" t="t" r="r" b="b"/>
              <a:pathLst>
                <a:path w="197485" h="280670">
                  <a:moveTo>
                    <a:pt x="45173" y="259181"/>
                  </a:moveTo>
                  <a:lnTo>
                    <a:pt x="23228" y="227012"/>
                  </a:lnTo>
                  <a:lnTo>
                    <a:pt x="14389" y="226974"/>
                  </a:lnTo>
                  <a:lnTo>
                    <a:pt x="7073" y="230949"/>
                  </a:lnTo>
                  <a:lnTo>
                    <a:pt x="2032" y="238264"/>
                  </a:lnTo>
                  <a:lnTo>
                    <a:pt x="0" y="248221"/>
                  </a:lnTo>
                  <a:lnTo>
                    <a:pt x="1524" y="259041"/>
                  </a:lnTo>
                  <a:lnTo>
                    <a:pt x="6159" y="268706"/>
                  </a:lnTo>
                  <a:lnTo>
                    <a:pt x="13195" y="276161"/>
                  </a:lnTo>
                  <a:lnTo>
                    <a:pt x="21932" y="280390"/>
                  </a:lnTo>
                  <a:lnTo>
                    <a:pt x="30784" y="280428"/>
                  </a:lnTo>
                  <a:lnTo>
                    <a:pt x="38100" y="276453"/>
                  </a:lnTo>
                  <a:lnTo>
                    <a:pt x="43154" y="269138"/>
                  </a:lnTo>
                  <a:lnTo>
                    <a:pt x="45173" y="259181"/>
                  </a:lnTo>
                  <a:close/>
                </a:path>
                <a:path w="197485" h="280670">
                  <a:moveTo>
                    <a:pt x="134302" y="163055"/>
                  </a:moveTo>
                  <a:lnTo>
                    <a:pt x="117805" y="128130"/>
                  </a:lnTo>
                  <a:lnTo>
                    <a:pt x="95821" y="122796"/>
                  </a:lnTo>
                  <a:lnTo>
                    <a:pt x="86677" y="127774"/>
                  </a:lnTo>
                  <a:lnTo>
                    <a:pt x="80365" y="136906"/>
                  </a:lnTo>
                  <a:lnTo>
                    <a:pt x="77838" y="149364"/>
                  </a:lnTo>
                  <a:lnTo>
                    <a:pt x="79730" y="162890"/>
                  </a:lnTo>
                  <a:lnTo>
                    <a:pt x="85521" y="174955"/>
                  </a:lnTo>
                  <a:lnTo>
                    <a:pt x="94322" y="184289"/>
                  </a:lnTo>
                  <a:lnTo>
                    <a:pt x="105257" y="189572"/>
                  </a:lnTo>
                  <a:lnTo>
                    <a:pt x="116306" y="189623"/>
                  </a:lnTo>
                  <a:lnTo>
                    <a:pt x="125463" y="184645"/>
                  </a:lnTo>
                  <a:lnTo>
                    <a:pt x="131762" y="175514"/>
                  </a:lnTo>
                  <a:lnTo>
                    <a:pt x="134302" y="163055"/>
                  </a:lnTo>
                  <a:close/>
                </a:path>
                <a:path w="197485" h="280670">
                  <a:moveTo>
                    <a:pt x="196888" y="50317"/>
                  </a:moveTo>
                  <a:lnTo>
                    <a:pt x="176276" y="6667"/>
                  </a:lnTo>
                  <a:lnTo>
                    <a:pt x="148793" y="0"/>
                  </a:lnTo>
                  <a:lnTo>
                    <a:pt x="137350" y="6210"/>
                  </a:lnTo>
                  <a:lnTo>
                    <a:pt x="129463" y="17640"/>
                  </a:lnTo>
                  <a:lnTo>
                    <a:pt x="126301" y="33197"/>
                  </a:lnTo>
                  <a:lnTo>
                    <a:pt x="128676" y="50114"/>
                  </a:lnTo>
                  <a:lnTo>
                    <a:pt x="135928" y="65201"/>
                  </a:lnTo>
                  <a:lnTo>
                    <a:pt x="146926" y="76860"/>
                  </a:lnTo>
                  <a:lnTo>
                    <a:pt x="160591" y="83477"/>
                  </a:lnTo>
                  <a:lnTo>
                    <a:pt x="174409" y="83527"/>
                  </a:lnTo>
                  <a:lnTo>
                    <a:pt x="185839" y="77304"/>
                  </a:lnTo>
                  <a:lnTo>
                    <a:pt x="193725" y="65887"/>
                  </a:lnTo>
                  <a:lnTo>
                    <a:pt x="196888" y="50317"/>
                  </a:lnTo>
                  <a:close/>
                </a:path>
              </a:pathLst>
            </a:custGeom>
            <a:solidFill>
              <a:srgbClr val="C51A1B"/>
            </a:solidFill>
          </p:spPr>
          <p:txBody>
            <a:bodyPr wrap="square" lIns="0" tIns="0" rIns="0" bIns="0" rtlCol="0"/>
            <a:lstStyle/>
            <a:p>
              <a:endParaRPr/>
            </a:p>
          </p:txBody>
        </p:sp>
        <p:pic>
          <p:nvPicPr>
            <p:cNvPr id="61" name="object 61"/>
            <p:cNvPicPr/>
            <p:nvPr/>
          </p:nvPicPr>
          <p:blipFill>
            <a:blip r:embed="rId29" cstate="print"/>
            <a:stretch>
              <a:fillRect/>
            </a:stretch>
          </p:blipFill>
          <p:spPr>
            <a:xfrm>
              <a:off x="4179392" y="3816716"/>
              <a:ext cx="88224" cy="104406"/>
            </a:xfrm>
            <a:prstGeom prst="rect">
              <a:avLst/>
            </a:prstGeom>
          </p:spPr>
        </p:pic>
      </p:grpSp>
      <p:pic>
        <p:nvPicPr>
          <p:cNvPr id="62" name="object 62"/>
          <p:cNvPicPr/>
          <p:nvPr/>
        </p:nvPicPr>
        <p:blipFill>
          <a:blip r:embed="rId30" cstate="print"/>
          <a:stretch>
            <a:fillRect/>
          </a:stretch>
        </p:blipFill>
        <p:spPr>
          <a:xfrm>
            <a:off x="5924254" y="3336405"/>
            <a:ext cx="64007" cy="75741"/>
          </a:xfrm>
          <a:prstGeom prst="rect">
            <a:avLst/>
          </a:prstGeom>
        </p:spPr>
      </p:pic>
      <p:sp>
        <p:nvSpPr>
          <p:cNvPr id="63" name="object 63"/>
          <p:cNvSpPr/>
          <p:nvPr/>
        </p:nvSpPr>
        <p:spPr>
          <a:xfrm>
            <a:off x="5885896" y="3217129"/>
            <a:ext cx="51248" cy="61037"/>
          </a:xfrm>
          <a:custGeom>
            <a:avLst/>
            <a:gdLst/>
            <a:ahLst/>
            <a:cxnLst/>
            <a:rect l="l" t="t" r="r" b="b"/>
            <a:pathLst>
              <a:path w="56514" h="67310">
                <a:moveTo>
                  <a:pt x="1901" y="40090"/>
                </a:moveTo>
                <a:lnTo>
                  <a:pt x="0" y="26568"/>
                </a:lnTo>
                <a:lnTo>
                  <a:pt x="2532" y="14116"/>
                </a:lnTo>
                <a:lnTo>
                  <a:pt x="8840" y="4975"/>
                </a:lnTo>
                <a:lnTo>
                  <a:pt x="17988" y="0"/>
                </a:lnTo>
                <a:lnTo>
                  <a:pt x="29044" y="45"/>
                </a:lnTo>
                <a:lnTo>
                  <a:pt x="39972" y="5335"/>
                </a:lnTo>
                <a:lnTo>
                  <a:pt x="48771" y="14660"/>
                </a:lnTo>
                <a:lnTo>
                  <a:pt x="54563" y="26731"/>
                </a:lnTo>
                <a:lnTo>
                  <a:pt x="56466" y="40257"/>
                </a:lnTo>
                <a:lnTo>
                  <a:pt x="53935" y="52714"/>
                </a:lnTo>
                <a:lnTo>
                  <a:pt x="47628" y="61854"/>
                </a:lnTo>
                <a:lnTo>
                  <a:pt x="38478" y="66827"/>
                </a:lnTo>
                <a:lnTo>
                  <a:pt x="27421" y="66779"/>
                </a:lnTo>
                <a:lnTo>
                  <a:pt x="16495" y="61493"/>
                </a:lnTo>
                <a:lnTo>
                  <a:pt x="7694" y="52164"/>
                </a:lnTo>
                <a:lnTo>
                  <a:pt x="1901" y="40090"/>
                </a:lnTo>
                <a:close/>
              </a:path>
            </a:pathLst>
          </a:custGeom>
          <a:solidFill>
            <a:srgbClr val="C51A1B"/>
          </a:solidFill>
        </p:spPr>
        <p:txBody>
          <a:bodyPr wrap="square" lIns="0" tIns="0" rIns="0" bIns="0" rtlCol="0"/>
          <a:lstStyle/>
          <a:p>
            <a:endParaRPr/>
          </a:p>
        </p:txBody>
      </p:sp>
      <p:sp>
        <p:nvSpPr>
          <p:cNvPr id="64" name="object 64"/>
          <p:cNvSpPr/>
          <p:nvPr/>
        </p:nvSpPr>
        <p:spPr>
          <a:xfrm>
            <a:off x="5820473" y="3099317"/>
            <a:ext cx="41459" cy="48945"/>
          </a:xfrm>
          <a:custGeom>
            <a:avLst/>
            <a:gdLst/>
            <a:ahLst/>
            <a:cxnLst/>
            <a:rect l="l" t="t" r="r" b="b"/>
            <a:pathLst>
              <a:path w="45720" h="53975">
                <a:moveTo>
                  <a:pt x="1521" y="32072"/>
                </a:moveTo>
                <a:lnTo>
                  <a:pt x="0" y="21248"/>
                </a:lnTo>
                <a:lnTo>
                  <a:pt x="2028" y="11286"/>
                </a:lnTo>
                <a:lnTo>
                  <a:pt x="7073" y="3977"/>
                </a:lnTo>
                <a:lnTo>
                  <a:pt x="14390" y="0"/>
                </a:lnTo>
                <a:lnTo>
                  <a:pt x="23231" y="35"/>
                </a:lnTo>
                <a:lnTo>
                  <a:pt x="31979" y="4263"/>
                </a:lnTo>
                <a:lnTo>
                  <a:pt x="39023" y="11725"/>
                </a:lnTo>
                <a:lnTo>
                  <a:pt x="43658" y="21384"/>
                </a:lnTo>
                <a:lnTo>
                  <a:pt x="45177" y="32203"/>
                </a:lnTo>
                <a:lnTo>
                  <a:pt x="43148" y="42168"/>
                </a:lnTo>
                <a:lnTo>
                  <a:pt x="38101" y="49482"/>
                </a:lnTo>
                <a:lnTo>
                  <a:pt x="30784" y="53459"/>
                </a:lnTo>
                <a:lnTo>
                  <a:pt x="21945" y="53416"/>
                </a:lnTo>
                <a:lnTo>
                  <a:pt x="13198" y="49191"/>
                </a:lnTo>
                <a:lnTo>
                  <a:pt x="6155" y="41731"/>
                </a:lnTo>
                <a:lnTo>
                  <a:pt x="1521" y="32072"/>
                </a:lnTo>
                <a:close/>
              </a:path>
            </a:pathLst>
          </a:custGeom>
          <a:solidFill>
            <a:srgbClr val="C51A1B"/>
          </a:solidFill>
        </p:spPr>
        <p:txBody>
          <a:bodyPr wrap="square" lIns="0" tIns="0" rIns="0" bIns="0" rtlCol="0"/>
          <a:lstStyle/>
          <a:p>
            <a:endParaRPr/>
          </a:p>
        </p:txBody>
      </p:sp>
      <p:sp>
        <p:nvSpPr>
          <p:cNvPr id="65" name="object 65"/>
          <p:cNvSpPr/>
          <p:nvPr/>
        </p:nvSpPr>
        <p:spPr>
          <a:xfrm>
            <a:off x="5755692" y="3010284"/>
            <a:ext cx="32822" cy="39156"/>
          </a:xfrm>
          <a:custGeom>
            <a:avLst/>
            <a:gdLst/>
            <a:ahLst/>
            <a:cxnLst/>
            <a:rect l="l" t="t" r="r" b="b"/>
            <a:pathLst>
              <a:path w="36195" h="43179">
                <a:moveTo>
                  <a:pt x="1221" y="25653"/>
                </a:moveTo>
                <a:lnTo>
                  <a:pt x="0" y="16987"/>
                </a:lnTo>
                <a:lnTo>
                  <a:pt x="1624" y="9024"/>
                </a:lnTo>
                <a:lnTo>
                  <a:pt x="5664" y="3181"/>
                </a:lnTo>
                <a:lnTo>
                  <a:pt x="11520" y="0"/>
                </a:lnTo>
                <a:lnTo>
                  <a:pt x="18594" y="23"/>
                </a:lnTo>
                <a:lnTo>
                  <a:pt x="25588" y="3408"/>
                </a:lnTo>
                <a:lnTo>
                  <a:pt x="31222" y="9379"/>
                </a:lnTo>
                <a:lnTo>
                  <a:pt x="34929" y="17106"/>
                </a:lnTo>
                <a:lnTo>
                  <a:pt x="36146" y="25760"/>
                </a:lnTo>
                <a:lnTo>
                  <a:pt x="34525" y="33731"/>
                </a:lnTo>
                <a:lnTo>
                  <a:pt x="30488" y="39582"/>
                </a:lnTo>
                <a:lnTo>
                  <a:pt x="24634" y="42769"/>
                </a:lnTo>
                <a:lnTo>
                  <a:pt x="17562" y="42747"/>
                </a:lnTo>
                <a:lnTo>
                  <a:pt x="10565" y="39357"/>
                </a:lnTo>
                <a:lnTo>
                  <a:pt x="4931" y="33384"/>
                </a:lnTo>
                <a:lnTo>
                  <a:pt x="1221" y="25653"/>
                </a:lnTo>
                <a:close/>
              </a:path>
            </a:pathLst>
          </a:custGeom>
          <a:solidFill>
            <a:srgbClr val="C51A1B"/>
          </a:solidFill>
        </p:spPr>
        <p:txBody>
          <a:bodyPr wrap="square" lIns="0" tIns="0" rIns="0" bIns="0" rtlCol="0"/>
          <a:lstStyle/>
          <a:p>
            <a:endParaRPr/>
          </a:p>
        </p:txBody>
      </p:sp>
      <p:sp>
        <p:nvSpPr>
          <p:cNvPr id="66" name="object 66"/>
          <p:cNvSpPr/>
          <p:nvPr/>
        </p:nvSpPr>
        <p:spPr>
          <a:xfrm>
            <a:off x="5687163" y="2936659"/>
            <a:ext cx="26487" cy="34549"/>
          </a:xfrm>
          <a:custGeom>
            <a:avLst/>
            <a:gdLst/>
            <a:ahLst/>
            <a:cxnLst/>
            <a:rect l="l" t="t" r="r" b="b"/>
            <a:pathLst>
              <a:path w="29210" h="38100">
                <a:moveTo>
                  <a:pt x="976" y="22440"/>
                </a:moveTo>
                <a:lnTo>
                  <a:pt x="0" y="15519"/>
                </a:lnTo>
                <a:lnTo>
                  <a:pt x="228" y="6073"/>
                </a:lnTo>
                <a:lnTo>
                  <a:pt x="6890" y="0"/>
                </a:lnTo>
                <a:lnTo>
                  <a:pt x="28917" y="22526"/>
                </a:lnTo>
                <a:lnTo>
                  <a:pt x="28683" y="31960"/>
                </a:lnTo>
                <a:lnTo>
                  <a:pt x="22026" y="38045"/>
                </a:lnTo>
                <a:lnTo>
                  <a:pt x="14041" y="36097"/>
                </a:lnTo>
                <a:lnTo>
                  <a:pt x="8445" y="33393"/>
                </a:lnTo>
                <a:lnTo>
                  <a:pt x="3940" y="28619"/>
                </a:lnTo>
                <a:lnTo>
                  <a:pt x="976" y="22440"/>
                </a:lnTo>
                <a:close/>
              </a:path>
            </a:pathLst>
          </a:custGeom>
          <a:solidFill>
            <a:srgbClr val="C51A1B"/>
          </a:solidFill>
        </p:spPr>
        <p:txBody>
          <a:bodyPr wrap="square" lIns="0" tIns="0" rIns="0" bIns="0" rtlCol="0"/>
          <a:lstStyle/>
          <a:p>
            <a:endParaRPr/>
          </a:p>
        </p:txBody>
      </p:sp>
      <p:sp>
        <p:nvSpPr>
          <p:cNvPr id="67" name="object 67"/>
          <p:cNvSpPr/>
          <p:nvPr/>
        </p:nvSpPr>
        <p:spPr>
          <a:xfrm>
            <a:off x="5612396" y="2877166"/>
            <a:ext cx="21305" cy="27639"/>
          </a:xfrm>
          <a:custGeom>
            <a:avLst/>
            <a:gdLst/>
            <a:ahLst/>
            <a:cxnLst/>
            <a:rect l="l" t="t" r="r" b="b"/>
            <a:pathLst>
              <a:path w="23495" h="30480">
                <a:moveTo>
                  <a:pt x="0" y="19970"/>
                </a:moveTo>
                <a:lnTo>
                  <a:pt x="368" y="4874"/>
                </a:lnTo>
                <a:lnTo>
                  <a:pt x="5695" y="0"/>
                </a:lnTo>
                <a:lnTo>
                  <a:pt x="18469" y="3098"/>
                </a:lnTo>
                <a:lnTo>
                  <a:pt x="23496" y="10474"/>
                </a:lnTo>
                <a:lnTo>
                  <a:pt x="23314" y="18027"/>
                </a:lnTo>
                <a:lnTo>
                  <a:pt x="23133" y="25581"/>
                </a:lnTo>
                <a:lnTo>
                  <a:pt x="17795" y="30433"/>
                </a:lnTo>
                <a:lnTo>
                  <a:pt x="5027" y="27345"/>
                </a:lnTo>
                <a:lnTo>
                  <a:pt x="0" y="19970"/>
                </a:lnTo>
                <a:close/>
              </a:path>
            </a:pathLst>
          </a:custGeom>
          <a:solidFill>
            <a:srgbClr val="C51A1B"/>
          </a:solidFill>
        </p:spPr>
        <p:txBody>
          <a:bodyPr wrap="square" lIns="0" tIns="0" rIns="0" bIns="0" rtlCol="0"/>
          <a:lstStyle/>
          <a:p>
            <a:endParaRPr/>
          </a:p>
        </p:txBody>
      </p:sp>
      <p:sp>
        <p:nvSpPr>
          <p:cNvPr id="68" name="object 68"/>
          <p:cNvSpPr/>
          <p:nvPr/>
        </p:nvSpPr>
        <p:spPr>
          <a:xfrm>
            <a:off x="5542533" y="2835376"/>
            <a:ext cx="17275" cy="22457"/>
          </a:xfrm>
          <a:custGeom>
            <a:avLst/>
            <a:gdLst/>
            <a:ahLst/>
            <a:cxnLst/>
            <a:rect l="l" t="t" r="r" b="b"/>
            <a:pathLst>
              <a:path w="19050" h="24764">
                <a:moveTo>
                  <a:pt x="0" y="15962"/>
                </a:moveTo>
                <a:lnTo>
                  <a:pt x="302" y="3896"/>
                </a:lnTo>
                <a:lnTo>
                  <a:pt x="4557" y="0"/>
                </a:lnTo>
                <a:lnTo>
                  <a:pt x="14773" y="2472"/>
                </a:lnTo>
                <a:lnTo>
                  <a:pt x="18797" y="8379"/>
                </a:lnTo>
                <a:lnTo>
                  <a:pt x="18655" y="14415"/>
                </a:lnTo>
                <a:lnTo>
                  <a:pt x="18512" y="20451"/>
                </a:lnTo>
                <a:lnTo>
                  <a:pt x="14245" y="24353"/>
                </a:lnTo>
                <a:lnTo>
                  <a:pt x="4024" y="21869"/>
                </a:lnTo>
                <a:lnTo>
                  <a:pt x="0" y="15962"/>
                </a:lnTo>
                <a:close/>
              </a:path>
            </a:pathLst>
          </a:custGeom>
          <a:solidFill>
            <a:srgbClr val="C51A1B"/>
          </a:solidFill>
        </p:spPr>
        <p:txBody>
          <a:bodyPr wrap="square" lIns="0" tIns="0" rIns="0" bIns="0" rtlCol="0"/>
          <a:lstStyle/>
          <a:p>
            <a:endParaRPr/>
          </a:p>
        </p:txBody>
      </p:sp>
      <p:sp>
        <p:nvSpPr>
          <p:cNvPr id="69" name="object 69"/>
          <p:cNvSpPr/>
          <p:nvPr/>
        </p:nvSpPr>
        <p:spPr>
          <a:xfrm>
            <a:off x="5465568" y="2806730"/>
            <a:ext cx="13820" cy="17850"/>
          </a:xfrm>
          <a:custGeom>
            <a:avLst/>
            <a:gdLst/>
            <a:ahLst/>
            <a:cxnLst/>
            <a:rect l="l" t="t" r="r" b="b"/>
            <a:pathLst>
              <a:path w="15239" h="19685">
                <a:moveTo>
                  <a:pt x="0" y="12780"/>
                </a:moveTo>
                <a:lnTo>
                  <a:pt x="227" y="3120"/>
                </a:lnTo>
                <a:lnTo>
                  <a:pt x="3638" y="0"/>
                </a:lnTo>
                <a:lnTo>
                  <a:pt x="11824" y="1988"/>
                </a:lnTo>
                <a:lnTo>
                  <a:pt x="15030" y="6703"/>
                </a:lnTo>
                <a:lnTo>
                  <a:pt x="14919" y="11539"/>
                </a:lnTo>
                <a:lnTo>
                  <a:pt x="14808" y="16374"/>
                </a:lnTo>
                <a:lnTo>
                  <a:pt x="11387" y="19472"/>
                </a:lnTo>
                <a:lnTo>
                  <a:pt x="3223" y="17501"/>
                </a:lnTo>
                <a:lnTo>
                  <a:pt x="0" y="12780"/>
                </a:lnTo>
                <a:close/>
              </a:path>
            </a:pathLst>
          </a:custGeom>
          <a:solidFill>
            <a:srgbClr val="C51A1B"/>
          </a:solidFill>
        </p:spPr>
        <p:txBody>
          <a:bodyPr wrap="square" lIns="0" tIns="0" rIns="0" bIns="0" rtlCol="0"/>
          <a:lstStyle/>
          <a:p>
            <a:endParaRPr/>
          </a:p>
        </p:txBody>
      </p:sp>
      <p:sp>
        <p:nvSpPr>
          <p:cNvPr id="70" name="object 70"/>
          <p:cNvSpPr/>
          <p:nvPr/>
        </p:nvSpPr>
        <p:spPr>
          <a:xfrm>
            <a:off x="2615985" y="3891269"/>
            <a:ext cx="2769112" cy="502690"/>
          </a:xfrm>
          <a:custGeom>
            <a:avLst/>
            <a:gdLst/>
            <a:ahLst/>
            <a:cxnLst/>
            <a:rect l="l" t="t" r="r" b="b"/>
            <a:pathLst>
              <a:path w="3053715" h="554354">
                <a:moveTo>
                  <a:pt x="81140" y="169456"/>
                </a:moveTo>
                <a:lnTo>
                  <a:pt x="0" y="169456"/>
                </a:lnTo>
                <a:lnTo>
                  <a:pt x="0" y="546290"/>
                </a:lnTo>
                <a:lnTo>
                  <a:pt x="109207" y="546290"/>
                </a:lnTo>
                <a:lnTo>
                  <a:pt x="109207" y="297129"/>
                </a:lnTo>
                <a:lnTo>
                  <a:pt x="128792" y="287347"/>
                </a:lnTo>
                <a:lnTo>
                  <a:pt x="150439" y="278657"/>
                </a:lnTo>
                <a:lnTo>
                  <a:pt x="171373" y="272433"/>
                </a:lnTo>
                <a:lnTo>
                  <a:pt x="188823" y="270052"/>
                </a:lnTo>
                <a:lnTo>
                  <a:pt x="538810" y="270052"/>
                </a:lnTo>
                <a:lnTo>
                  <a:pt x="535496" y="232884"/>
                </a:lnTo>
                <a:lnTo>
                  <a:pt x="522305" y="198094"/>
                </a:lnTo>
                <a:lnTo>
                  <a:pt x="92519" y="198094"/>
                </a:lnTo>
                <a:lnTo>
                  <a:pt x="81140" y="169456"/>
                </a:lnTo>
                <a:close/>
              </a:path>
              <a:path w="3053715" h="554354">
                <a:moveTo>
                  <a:pt x="404177" y="270052"/>
                </a:moveTo>
                <a:lnTo>
                  <a:pt x="188823" y="270052"/>
                </a:lnTo>
                <a:lnTo>
                  <a:pt x="200970" y="271890"/>
                </a:lnTo>
                <a:lnTo>
                  <a:pt x="209205" y="277209"/>
                </a:lnTo>
                <a:lnTo>
                  <a:pt x="213885" y="285719"/>
                </a:lnTo>
                <a:lnTo>
                  <a:pt x="215366" y="297129"/>
                </a:lnTo>
                <a:lnTo>
                  <a:pt x="215366" y="546290"/>
                </a:lnTo>
                <a:lnTo>
                  <a:pt x="324561" y="546290"/>
                </a:lnTo>
                <a:lnTo>
                  <a:pt x="324561" y="297129"/>
                </a:lnTo>
                <a:lnTo>
                  <a:pt x="344146" y="287347"/>
                </a:lnTo>
                <a:lnTo>
                  <a:pt x="365793" y="278657"/>
                </a:lnTo>
                <a:lnTo>
                  <a:pt x="386727" y="272433"/>
                </a:lnTo>
                <a:lnTo>
                  <a:pt x="404177" y="270052"/>
                </a:lnTo>
                <a:close/>
              </a:path>
              <a:path w="3053715" h="554354">
                <a:moveTo>
                  <a:pt x="538810" y="270052"/>
                </a:moveTo>
                <a:lnTo>
                  <a:pt x="404177" y="270052"/>
                </a:lnTo>
                <a:lnTo>
                  <a:pt x="416324" y="271890"/>
                </a:lnTo>
                <a:lnTo>
                  <a:pt x="424559" y="277209"/>
                </a:lnTo>
                <a:lnTo>
                  <a:pt x="429239" y="285719"/>
                </a:lnTo>
                <a:lnTo>
                  <a:pt x="430720" y="297129"/>
                </a:lnTo>
                <a:lnTo>
                  <a:pt x="430720" y="546290"/>
                </a:lnTo>
                <a:lnTo>
                  <a:pt x="539915" y="546290"/>
                </a:lnTo>
                <a:lnTo>
                  <a:pt x="539915" y="282435"/>
                </a:lnTo>
                <a:lnTo>
                  <a:pt x="538810" y="270052"/>
                </a:lnTo>
                <a:close/>
              </a:path>
              <a:path w="3053715" h="554354">
                <a:moveTo>
                  <a:pt x="239636" y="161721"/>
                </a:moveTo>
                <a:lnTo>
                  <a:pt x="205131" y="164249"/>
                </a:lnTo>
                <a:lnTo>
                  <a:pt x="167216" y="171492"/>
                </a:lnTo>
                <a:lnTo>
                  <a:pt x="128731" y="182944"/>
                </a:lnTo>
                <a:lnTo>
                  <a:pt x="92519" y="198094"/>
                </a:lnTo>
                <a:lnTo>
                  <a:pt x="307124" y="198094"/>
                </a:lnTo>
                <a:lnTo>
                  <a:pt x="295725" y="182617"/>
                </a:lnTo>
                <a:lnTo>
                  <a:pt x="280771" y="171202"/>
                </a:lnTo>
                <a:lnTo>
                  <a:pt x="262122" y="164140"/>
                </a:lnTo>
                <a:lnTo>
                  <a:pt x="239636" y="161721"/>
                </a:lnTo>
                <a:close/>
              </a:path>
              <a:path w="3053715" h="554354">
                <a:moveTo>
                  <a:pt x="454990" y="161721"/>
                </a:moveTo>
                <a:lnTo>
                  <a:pt x="416314" y="164465"/>
                </a:lnTo>
                <a:lnTo>
                  <a:pt x="377642" y="172069"/>
                </a:lnTo>
                <a:lnTo>
                  <a:pt x="340677" y="183592"/>
                </a:lnTo>
                <a:lnTo>
                  <a:pt x="307124" y="198094"/>
                </a:lnTo>
                <a:lnTo>
                  <a:pt x="522305" y="198094"/>
                </a:lnTo>
                <a:lnTo>
                  <a:pt x="521055" y="194798"/>
                </a:lnTo>
                <a:lnTo>
                  <a:pt x="494813" y="170353"/>
                </a:lnTo>
                <a:lnTo>
                  <a:pt x="454990" y="161721"/>
                </a:lnTo>
                <a:close/>
              </a:path>
              <a:path w="3053715" h="554354">
                <a:moveTo>
                  <a:pt x="743902" y="3873"/>
                </a:moveTo>
                <a:lnTo>
                  <a:pt x="634707" y="3873"/>
                </a:lnTo>
                <a:lnTo>
                  <a:pt x="634707" y="122262"/>
                </a:lnTo>
                <a:lnTo>
                  <a:pt x="743902" y="122262"/>
                </a:lnTo>
                <a:lnTo>
                  <a:pt x="743902" y="3873"/>
                </a:lnTo>
                <a:close/>
              </a:path>
              <a:path w="3053715" h="554354">
                <a:moveTo>
                  <a:pt x="743902" y="169456"/>
                </a:moveTo>
                <a:lnTo>
                  <a:pt x="634707" y="169456"/>
                </a:lnTo>
                <a:lnTo>
                  <a:pt x="634707" y="546290"/>
                </a:lnTo>
                <a:lnTo>
                  <a:pt x="743902" y="546290"/>
                </a:lnTo>
                <a:lnTo>
                  <a:pt x="743902" y="169456"/>
                </a:lnTo>
                <a:close/>
              </a:path>
              <a:path w="3053715" h="554354">
                <a:moveTo>
                  <a:pt x="963790" y="259219"/>
                </a:moveTo>
                <a:lnTo>
                  <a:pt x="854595" y="259219"/>
                </a:lnTo>
                <a:lnTo>
                  <a:pt x="854595" y="457301"/>
                </a:lnTo>
                <a:lnTo>
                  <a:pt x="862097" y="501796"/>
                </a:lnTo>
                <a:lnTo>
                  <a:pt x="883889" y="531780"/>
                </a:lnTo>
                <a:lnTo>
                  <a:pt x="918905" y="548705"/>
                </a:lnTo>
                <a:lnTo>
                  <a:pt x="966076" y="554024"/>
                </a:lnTo>
                <a:lnTo>
                  <a:pt x="985541" y="553046"/>
                </a:lnTo>
                <a:lnTo>
                  <a:pt x="1005789" y="550256"/>
                </a:lnTo>
                <a:lnTo>
                  <a:pt x="1025894" y="545870"/>
                </a:lnTo>
                <a:lnTo>
                  <a:pt x="1044930" y="540105"/>
                </a:lnTo>
                <a:lnTo>
                  <a:pt x="1033105" y="462724"/>
                </a:lnTo>
                <a:lnTo>
                  <a:pt x="986548" y="462724"/>
                </a:lnTo>
                <a:lnTo>
                  <a:pt x="977233" y="461635"/>
                </a:lnTo>
                <a:lnTo>
                  <a:pt x="970049" y="458079"/>
                </a:lnTo>
                <a:lnTo>
                  <a:pt x="965426" y="451623"/>
                </a:lnTo>
                <a:lnTo>
                  <a:pt x="963790" y="441833"/>
                </a:lnTo>
                <a:lnTo>
                  <a:pt x="963790" y="259219"/>
                </a:lnTo>
                <a:close/>
              </a:path>
              <a:path w="3053715" h="554354">
                <a:moveTo>
                  <a:pt x="1032040" y="455752"/>
                </a:moveTo>
                <a:lnTo>
                  <a:pt x="1019918" y="459129"/>
                </a:lnTo>
                <a:lnTo>
                  <a:pt x="1007870" y="461271"/>
                </a:lnTo>
                <a:lnTo>
                  <a:pt x="996533" y="462397"/>
                </a:lnTo>
                <a:lnTo>
                  <a:pt x="986548" y="462724"/>
                </a:lnTo>
                <a:lnTo>
                  <a:pt x="1033105" y="462724"/>
                </a:lnTo>
                <a:lnTo>
                  <a:pt x="1032040" y="455752"/>
                </a:lnTo>
                <a:close/>
              </a:path>
              <a:path w="3053715" h="554354">
                <a:moveTo>
                  <a:pt x="1047965" y="169456"/>
                </a:moveTo>
                <a:lnTo>
                  <a:pt x="804557" y="169456"/>
                </a:lnTo>
                <a:lnTo>
                  <a:pt x="804557" y="259219"/>
                </a:lnTo>
                <a:lnTo>
                  <a:pt x="1041907" y="259219"/>
                </a:lnTo>
                <a:lnTo>
                  <a:pt x="1047965" y="169456"/>
                </a:lnTo>
                <a:close/>
              </a:path>
              <a:path w="3053715" h="554354">
                <a:moveTo>
                  <a:pt x="963790" y="63449"/>
                </a:moveTo>
                <a:lnTo>
                  <a:pt x="854595" y="78930"/>
                </a:lnTo>
                <a:lnTo>
                  <a:pt x="854595" y="169456"/>
                </a:lnTo>
                <a:lnTo>
                  <a:pt x="963790" y="169456"/>
                </a:lnTo>
                <a:lnTo>
                  <a:pt x="963790" y="63449"/>
                </a:lnTo>
                <a:close/>
              </a:path>
              <a:path w="3053715" h="554354">
                <a:moveTo>
                  <a:pt x="1206449" y="169456"/>
                </a:moveTo>
                <a:lnTo>
                  <a:pt x="1115441" y="169456"/>
                </a:lnTo>
                <a:lnTo>
                  <a:pt x="1115441" y="546290"/>
                </a:lnTo>
                <a:lnTo>
                  <a:pt x="1224648" y="546290"/>
                </a:lnTo>
                <a:lnTo>
                  <a:pt x="1224648" y="316471"/>
                </a:lnTo>
                <a:lnTo>
                  <a:pt x="1245264" y="303404"/>
                </a:lnTo>
                <a:lnTo>
                  <a:pt x="1270146" y="290264"/>
                </a:lnTo>
                <a:lnTo>
                  <a:pt x="1296732" y="277848"/>
                </a:lnTo>
                <a:lnTo>
                  <a:pt x="1322463" y="266954"/>
                </a:lnTo>
                <a:lnTo>
                  <a:pt x="1317181" y="205828"/>
                </a:lnTo>
                <a:lnTo>
                  <a:pt x="1214031" y="205828"/>
                </a:lnTo>
                <a:lnTo>
                  <a:pt x="1206449" y="169456"/>
                </a:lnTo>
                <a:close/>
              </a:path>
              <a:path w="3053715" h="554354">
                <a:moveTo>
                  <a:pt x="1313370" y="161721"/>
                </a:moveTo>
                <a:lnTo>
                  <a:pt x="1288568" y="169045"/>
                </a:lnTo>
                <a:lnTo>
                  <a:pt x="1261138" y="180289"/>
                </a:lnTo>
                <a:lnTo>
                  <a:pt x="1234989" y="193275"/>
                </a:lnTo>
                <a:lnTo>
                  <a:pt x="1214031" y="205828"/>
                </a:lnTo>
                <a:lnTo>
                  <a:pt x="1317181" y="205828"/>
                </a:lnTo>
                <a:lnTo>
                  <a:pt x="1313370" y="161721"/>
                </a:lnTo>
                <a:close/>
              </a:path>
              <a:path w="3053715" h="554354">
                <a:moveTo>
                  <a:pt x="1516583" y="161721"/>
                </a:moveTo>
                <a:lnTo>
                  <a:pt x="1462188" y="167256"/>
                </a:lnTo>
                <a:lnTo>
                  <a:pt x="1420896" y="182784"/>
                </a:lnTo>
                <a:lnTo>
                  <a:pt x="1371888" y="237378"/>
                </a:lnTo>
                <a:lnTo>
                  <a:pt x="1358099" y="312610"/>
                </a:lnTo>
                <a:lnTo>
                  <a:pt x="1358099" y="400824"/>
                </a:lnTo>
                <a:lnTo>
                  <a:pt x="1362024" y="444412"/>
                </a:lnTo>
                <a:lnTo>
                  <a:pt x="1374331" y="481809"/>
                </a:lnTo>
                <a:lnTo>
                  <a:pt x="1427297" y="534939"/>
                </a:lnTo>
                <a:lnTo>
                  <a:pt x="1469557" y="549124"/>
                </a:lnTo>
                <a:lnTo>
                  <a:pt x="1523403" y="554024"/>
                </a:lnTo>
                <a:lnTo>
                  <a:pt x="1562147" y="552017"/>
                </a:lnTo>
                <a:lnTo>
                  <a:pt x="1599614" y="546674"/>
                </a:lnTo>
                <a:lnTo>
                  <a:pt x="1633668" y="539012"/>
                </a:lnTo>
                <a:lnTo>
                  <a:pt x="1662176" y="530047"/>
                </a:lnTo>
                <a:lnTo>
                  <a:pt x="1649347" y="462724"/>
                </a:lnTo>
                <a:lnTo>
                  <a:pt x="1534020" y="462724"/>
                </a:lnTo>
                <a:lnTo>
                  <a:pt x="1502479" y="460233"/>
                </a:lnTo>
                <a:lnTo>
                  <a:pt x="1481888" y="451504"/>
                </a:lnTo>
                <a:lnTo>
                  <a:pt x="1470682" y="434649"/>
                </a:lnTo>
                <a:lnTo>
                  <a:pt x="1467294" y="407784"/>
                </a:lnTo>
                <a:lnTo>
                  <a:pt x="1467294" y="396951"/>
                </a:lnTo>
                <a:lnTo>
                  <a:pt x="1665960" y="396951"/>
                </a:lnTo>
                <a:lnTo>
                  <a:pt x="1665960" y="318020"/>
                </a:lnTo>
                <a:lnTo>
                  <a:pt x="1665667" y="313385"/>
                </a:lnTo>
                <a:lnTo>
                  <a:pt x="1467294" y="313385"/>
                </a:lnTo>
                <a:lnTo>
                  <a:pt x="1467294" y="297129"/>
                </a:lnTo>
                <a:lnTo>
                  <a:pt x="1469781" y="278538"/>
                </a:lnTo>
                <a:lnTo>
                  <a:pt x="1478097" y="263282"/>
                </a:lnTo>
                <a:lnTo>
                  <a:pt x="1493520" y="252957"/>
                </a:lnTo>
                <a:lnTo>
                  <a:pt x="1517332" y="249161"/>
                </a:lnTo>
                <a:lnTo>
                  <a:pt x="1656487" y="249161"/>
                </a:lnTo>
                <a:lnTo>
                  <a:pt x="1654532" y="241046"/>
                </a:lnTo>
                <a:lnTo>
                  <a:pt x="1637339" y="209115"/>
                </a:lnTo>
                <a:lnTo>
                  <a:pt x="1609909" y="184017"/>
                </a:lnTo>
                <a:lnTo>
                  <a:pt x="1570303" y="167603"/>
                </a:lnTo>
                <a:lnTo>
                  <a:pt x="1516583" y="161721"/>
                </a:lnTo>
                <a:close/>
              </a:path>
              <a:path w="3053715" h="554354">
                <a:moveTo>
                  <a:pt x="1646250" y="446468"/>
                </a:moveTo>
                <a:lnTo>
                  <a:pt x="1619759" y="453251"/>
                </a:lnTo>
                <a:lnTo>
                  <a:pt x="1590706" y="458368"/>
                </a:lnTo>
                <a:lnTo>
                  <a:pt x="1561368" y="461598"/>
                </a:lnTo>
                <a:lnTo>
                  <a:pt x="1534020" y="462724"/>
                </a:lnTo>
                <a:lnTo>
                  <a:pt x="1649347" y="462724"/>
                </a:lnTo>
                <a:lnTo>
                  <a:pt x="1646250" y="446468"/>
                </a:lnTo>
                <a:close/>
              </a:path>
              <a:path w="3053715" h="554354">
                <a:moveTo>
                  <a:pt x="1656487" y="249161"/>
                </a:moveTo>
                <a:lnTo>
                  <a:pt x="1517332" y="249161"/>
                </a:lnTo>
                <a:lnTo>
                  <a:pt x="1540440" y="252957"/>
                </a:lnTo>
                <a:lnTo>
                  <a:pt x="1554305" y="263282"/>
                </a:lnTo>
                <a:lnTo>
                  <a:pt x="1561059" y="278538"/>
                </a:lnTo>
                <a:lnTo>
                  <a:pt x="1562836" y="297129"/>
                </a:lnTo>
                <a:lnTo>
                  <a:pt x="1562836" y="313385"/>
                </a:lnTo>
                <a:lnTo>
                  <a:pt x="1665667" y="313385"/>
                </a:lnTo>
                <a:lnTo>
                  <a:pt x="1663426" y="277965"/>
                </a:lnTo>
                <a:lnTo>
                  <a:pt x="1656487" y="249161"/>
                </a:lnTo>
                <a:close/>
              </a:path>
              <a:path w="3053715" h="554354">
                <a:moveTo>
                  <a:pt x="1850986" y="161721"/>
                </a:moveTo>
                <a:lnTo>
                  <a:pt x="1804857" y="167664"/>
                </a:lnTo>
                <a:lnTo>
                  <a:pt x="1769866" y="185119"/>
                </a:lnTo>
                <a:lnTo>
                  <a:pt x="1731262" y="252345"/>
                </a:lnTo>
                <a:lnTo>
                  <a:pt x="1726628" y="301002"/>
                </a:lnTo>
                <a:lnTo>
                  <a:pt x="1726628" y="414743"/>
                </a:lnTo>
                <a:lnTo>
                  <a:pt x="1731566" y="464590"/>
                </a:lnTo>
                <a:lnTo>
                  <a:pt x="1746113" y="503552"/>
                </a:lnTo>
                <a:lnTo>
                  <a:pt x="1802433" y="548380"/>
                </a:lnTo>
                <a:lnTo>
                  <a:pt x="1843404" y="554024"/>
                </a:lnTo>
                <a:lnTo>
                  <a:pt x="1874509" y="550494"/>
                </a:lnTo>
                <a:lnTo>
                  <a:pt x="1905681" y="541451"/>
                </a:lnTo>
                <a:lnTo>
                  <a:pt x="1934150" y="529218"/>
                </a:lnTo>
                <a:lnTo>
                  <a:pt x="1957146" y="516115"/>
                </a:lnTo>
                <a:lnTo>
                  <a:pt x="2054212" y="516115"/>
                </a:lnTo>
                <a:lnTo>
                  <a:pt x="2054212" y="457301"/>
                </a:lnTo>
                <a:lnTo>
                  <a:pt x="1875256" y="457301"/>
                </a:lnTo>
                <a:lnTo>
                  <a:pt x="1856938" y="454352"/>
                </a:lnTo>
                <a:lnTo>
                  <a:pt x="1844733" y="445890"/>
                </a:lnTo>
                <a:lnTo>
                  <a:pt x="1837932" y="432494"/>
                </a:lnTo>
                <a:lnTo>
                  <a:pt x="1835823" y="414743"/>
                </a:lnTo>
                <a:lnTo>
                  <a:pt x="1835823" y="301002"/>
                </a:lnTo>
                <a:lnTo>
                  <a:pt x="1837932" y="283905"/>
                </a:lnTo>
                <a:lnTo>
                  <a:pt x="1844733" y="270436"/>
                </a:lnTo>
                <a:lnTo>
                  <a:pt x="1856938" y="261612"/>
                </a:lnTo>
                <a:lnTo>
                  <a:pt x="1875256" y="258445"/>
                </a:lnTo>
                <a:lnTo>
                  <a:pt x="2054212" y="258445"/>
                </a:lnTo>
                <a:lnTo>
                  <a:pt x="2054212" y="172554"/>
                </a:lnTo>
                <a:lnTo>
                  <a:pt x="1945017" y="172554"/>
                </a:lnTo>
                <a:lnTo>
                  <a:pt x="1924035" y="168247"/>
                </a:lnTo>
                <a:lnTo>
                  <a:pt x="1899993" y="164814"/>
                </a:lnTo>
                <a:lnTo>
                  <a:pt x="1874955" y="162542"/>
                </a:lnTo>
                <a:lnTo>
                  <a:pt x="1850986" y="161721"/>
                </a:lnTo>
                <a:close/>
              </a:path>
              <a:path w="3053715" h="554354">
                <a:moveTo>
                  <a:pt x="2054212" y="516115"/>
                </a:moveTo>
                <a:lnTo>
                  <a:pt x="1957146" y="516115"/>
                </a:lnTo>
                <a:lnTo>
                  <a:pt x="1968525" y="546290"/>
                </a:lnTo>
                <a:lnTo>
                  <a:pt x="2054212" y="546290"/>
                </a:lnTo>
                <a:lnTo>
                  <a:pt x="2054212" y="516115"/>
                </a:lnTo>
                <a:close/>
              </a:path>
              <a:path w="3053715" h="554354">
                <a:moveTo>
                  <a:pt x="2054212" y="258445"/>
                </a:moveTo>
                <a:lnTo>
                  <a:pt x="1875256" y="258445"/>
                </a:lnTo>
                <a:lnTo>
                  <a:pt x="1893086" y="259241"/>
                </a:lnTo>
                <a:lnTo>
                  <a:pt x="1911556" y="261343"/>
                </a:lnTo>
                <a:lnTo>
                  <a:pt x="1929316" y="264317"/>
                </a:lnTo>
                <a:lnTo>
                  <a:pt x="1945017" y="267728"/>
                </a:lnTo>
                <a:lnTo>
                  <a:pt x="1945017" y="427901"/>
                </a:lnTo>
                <a:lnTo>
                  <a:pt x="1930917" y="438372"/>
                </a:lnTo>
                <a:lnTo>
                  <a:pt x="1913547" y="447825"/>
                </a:lnTo>
                <a:lnTo>
                  <a:pt x="1894472" y="454666"/>
                </a:lnTo>
                <a:lnTo>
                  <a:pt x="1875256" y="457301"/>
                </a:lnTo>
                <a:lnTo>
                  <a:pt x="2054212" y="457301"/>
                </a:lnTo>
                <a:lnTo>
                  <a:pt x="2054212" y="258445"/>
                </a:lnTo>
                <a:close/>
              </a:path>
              <a:path w="3053715" h="554354">
                <a:moveTo>
                  <a:pt x="2054212" y="0"/>
                </a:moveTo>
                <a:lnTo>
                  <a:pt x="1945017" y="15481"/>
                </a:lnTo>
                <a:lnTo>
                  <a:pt x="1945017" y="172554"/>
                </a:lnTo>
                <a:lnTo>
                  <a:pt x="2054212" y="172554"/>
                </a:lnTo>
                <a:lnTo>
                  <a:pt x="2054212" y="0"/>
                </a:lnTo>
                <a:close/>
              </a:path>
              <a:path w="3053715" h="554354">
                <a:moveTo>
                  <a:pt x="2292311" y="161721"/>
                </a:moveTo>
                <a:lnTo>
                  <a:pt x="2237917" y="167256"/>
                </a:lnTo>
                <a:lnTo>
                  <a:pt x="2196624" y="182784"/>
                </a:lnTo>
                <a:lnTo>
                  <a:pt x="2147617" y="237378"/>
                </a:lnTo>
                <a:lnTo>
                  <a:pt x="2133828" y="312610"/>
                </a:lnTo>
                <a:lnTo>
                  <a:pt x="2133828" y="400824"/>
                </a:lnTo>
                <a:lnTo>
                  <a:pt x="2137753" y="444412"/>
                </a:lnTo>
                <a:lnTo>
                  <a:pt x="2150060" y="481809"/>
                </a:lnTo>
                <a:lnTo>
                  <a:pt x="2203025" y="534939"/>
                </a:lnTo>
                <a:lnTo>
                  <a:pt x="2245285" y="549124"/>
                </a:lnTo>
                <a:lnTo>
                  <a:pt x="2299131" y="554024"/>
                </a:lnTo>
                <a:lnTo>
                  <a:pt x="2337881" y="552017"/>
                </a:lnTo>
                <a:lnTo>
                  <a:pt x="2375347" y="546674"/>
                </a:lnTo>
                <a:lnTo>
                  <a:pt x="2409399" y="539012"/>
                </a:lnTo>
                <a:lnTo>
                  <a:pt x="2437904" y="530047"/>
                </a:lnTo>
                <a:lnTo>
                  <a:pt x="2425076" y="462724"/>
                </a:lnTo>
                <a:lnTo>
                  <a:pt x="2309749" y="462724"/>
                </a:lnTo>
                <a:lnTo>
                  <a:pt x="2278213" y="460233"/>
                </a:lnTo>
                <a:lnTo>
                  <a:pt x="2257621" y="451504"/>
                </a:lnTo>
                <a:lnTo>
                  <a:pt x="2246412" y="434649"/>
                </a:lnTo>
                <a:lnTo>
                  <a:pt x="2243023" y="407784"/>
                </a:lnTo>
                <a:lnTo>
                  <a:pt x="2243023" y="396951"/>
                </a:lnTo>
                <a:lnTo>
                  <a:pt x="2441702" y="396951"/>
                </a:lnTo>
                <a:lnTo>
                  <a:pt x="2441702" y="318020"/>
                </a:lnTo>
                <a:lnTo>
                  <a:pt x="2441408" y="313385"/>
                </a:lnTo>
                <a:lnTo>
                  <a:pt x="2243023" y="313385"/>
                </a:lnTo>
                <a:lnTo>
                  <a:pt x="2243023" y="297129"/>
                </a:lnTo>
                <a:lnTo>
                  <a:pt x="2245510" y="278538"/>
                </a:lnTo>
                <a:lnTo>
                  <a:pt x="2253827" y="263282"/>
                </a:lnTo>
                <a:lnTo>
                  <a:pt x="2269255" y="252957"/>
                </a:lnTo>
                <a:lnTo>
                  <a:pt x="2293073" y="249161"/>
                </a:lnTo>
                <a:lnTo>
                  <a:pt x="2432225" y="249161"/>
                </a:lnTo>
                <a:lnTo>
                  <a:pt x="2430270" y="241046"/>
                </a:lnTo>
                <a:lnTo>
                  <a:pt x="2413074" y="209115"/>
                </a:lnTo>
                <a:lnTo>
                  <a:pt x="2385641" y="184017"/>
                </a:lnTo>
                <a:lnTo>
                  <a:pt x="2346033" y="167603"/>
                </a:lnTo>
                <a:lnTo>
                  <a:pt x="2292311" y="161721"/>
                </a:lnTo>
                <a:close/>
              </a:path>
              <a:path w="3053715" h="554354">
                <a:moveTo>
                  <a:pt x="2421978" y="446468"/>
                </a:moveTo>
                <a:lnTo>
                  <a:pt x="2395488" y="453251"/>
                </a:lnTo>
                <a:lnTo>
                  <a:pt x="2366435" y="458368"/>
                </a:lnTo>
                <a:lnTo>
                  <a:pt x="2337096" y="461598"/>
                </a:lnTo>
                <a:lnTo>
                  <a:pt x="2309749" y="462724"/>
                </a:lnTo>
                <a:lnTo>
                  <a:pt x="2425076" y="462724"/>
                </a:lnTo>
                <a:lnTo>
                  <a:pt x="2421978" y="446468"/>
                </a:lnTo>
                <a:close/>
              </a:path>
              <a:path w="3053715" h="554354">
                <a:moveTo>
                  <a:pt x="2432225" y="249161"/>
                </a:moveTo>
                <a:lnTo>
                  <a:pt x="2293073" y="249161"/>
                </a:lnTo>
                <a:lnTo>
                  <a:pt x="2316175" y="252957"/>
                </a:lnTo>
                <a:lnTo>
                  <a:pt x="2330035" y="263282"/>
                </a:lnTo>
                <a:lnTo>
                  <a:pt x="2336788" y="278538"/>
                </a:lnTo>
                <a:lnTo>
                  <a:pt x="2338565" y="297129"/>
                </a:lnTo>
                <a:lnTo>
                  <a:pt x="2338565" y="313385"/>
                </a:lnTo>
                <a:lnTo>
                  <a:pt x="2441408" y="313385"/>
                </a:lnTo>
                <a:lnTo>
                  <a:pt x="2439167" y="277965"/>
                </a:lnTo>
                <a:lnTo>
                  <a:pt x="2432225" y="249161"/>
                </a:lnTo>
                <a:close/>
              </a:path>
              <a:path w="3053715" h="554354">
                <a:moveTo>
                  <a:pt x="2602458" y="169456"/>
                </a:moveTo>
                <a:lnTo>
                  <a:pt x="2521318" y="169456"/>
                </a:lnTo>
                <a:lnTo>
                  <a:pt x="2521318" y="546290"/>
                </a:lnTo>
                <a:lnTo>
                  <a:pt x="2630512" y="546290"/>
                </a:lnTo>
                <a:lnTo>
                  <a:pt x="2630512" y="297129"/>
                </a:lnTo>
                <a:lnTo>
                  <a:pt x="2650098" y="287347"/>
                </a:lnTo>
                <a:lnTo>
                  <a:pt x="2671745" y="278657"/>
                </a:lnTo>
                <a:lnTo>
                  <a:pt x="2692679" y="272433"/>
                </a:lnTo>
                <a:lnTo>
                  <a:pt x="2710129" y="270052"/>
                </a:lnTo>
                <a:lnTo>
                  <a:pt x="2844762" y="270052"/>
                </a:lnTo>
                <a:lnTo>
                  <a:pt x="2841448" y="232884"/>
                </a:lnTo>
                <a:lnTo>
                  <a:pt x="2828256" y="198094"/>
                </a:lnTo>
                <a:lnTo>
                  <a:pt x="2613825" y="198094"/>
                </a:lnTo>
                <a:lnTo>
                  <a:pt x="2602458" y="169456"/>
                </a:lnTo>
                <a:close/>
              </a:path>
              <a:path w="3053715" h="554354">
                <a:moveTo>
                  <a:pt x="2844762" y="270052"/>
                </a:moveTo>
                <a:lnTo>
                  <a:pt x="2710129" y="270052"/>
                </a:lnTo>
                <a:lnTo>
                  <a:pt x="2722275" y="271890"/>
                </a:lnTo>
                <a:lnTo>
                  <a:pt x="2730511" y="277209"/>
                </a:lnTo>
                <a:lnTo>
                  <a:pt x="2735191" y="285719"/>
                </a:lnTo>
                <a:lnTo>
                  <a:pt x="2736672" y="297129"/>
                </a:lnTo>
                <a:lnTo>
                  <a:pt x="2736672" y="546290"/>
                </a:lnTo>
                <a:lnTo>
                  <a:pt x="2845866" y="546290"/>
                </a:lnTo>
                <a:lnTo>
                  <a:pt x="2845866" y="282435"/>
                </a:lnTo>
                <a:lnTo>
                  <a:pt x="2844762" y="270052"/>
                </a:lnTo>
                <a:close/>
              </a:path>
              <a:path w="3053715" h="554354">
                <a:moveTo>
                  <a:pt x="2760941" y="161721"/>
                </a:moveTo>
                <a:lnTo>
                  <a:pt x="2726437" y="164249"/>
                </a:lnTo>
                <a:lnTo>
                  <a:pt x="2688521" y="171492"/>
                </a:lnTo>
                <a:lnTo>
                  <a:pt x="2650036" y="182944"/>
                </a:lnTo>
                <a:lnTo>
                  <a:pt x="2613825" y="198094"/>
                </a:lnTo>
                <a:lnTo>
                  <a:pt x="2828256" y="198094"/>
                </a:lnTo>
                <a:lnTo>
                  <a:pt x="2827007" y="194798"/>
                </a:lnTo>
                <a:lnTo>
                  <a:pt x="2800764" y="170353"/>
                </a:lnTo>
                <a:lnTo>
                  <a:pt x="2760941" y="161721"/>
                </a:lnTo>
                <a:close/>
              </a:path>
              <a:path w="3053715" h="554354">
                <a:moveTo>
                  <a:pt x="3053638" y="15481"/>
                </a:moveTo>
                <a:lnTo>
                  <a:pt x="2944444" y="15481"/>
                </a:lnTo>
                <a:lnTo>
                  <a:pt x="2944444" y="232905"/>
                </a:lnTo>
                <a:lnTo>
                  <a:pt x="2967189" y="367550"/>
                </a:lnTo>
                <a:lnTo>
                  <a:pt x="3030893" y="367550"/>
                </a:lnTo>
                <a:lnTo>
                  <a:pt x="3053638" y="232905"/>
                </a:lnTo>
                <a:lnTo>
                  <a:pt x="3053638" y="15481"/>
                </a:lnTo>
                <a:close/>
              </a:path>
              <a:path w="3053715" h="554354">
                <a:moveTo>
                  <a:pt x="3053638" y="417842"/>
                </a:moveTo>
                <a:lnTo>
                  <a:pt x="2944444" y="417842"/>
                </a:lnTo>
                <a:lnTo>
                  <a:pt x="2944444" y="546290"/>
                </a:lnTo>
                <a:lnTo>
                  <a:pt x="3053638" y="546290"/>
                </a:lnTo>
                <a:lnTo>
                  <a:pt x="3053638" y="417842"/>
                </a:lnTo>
                <a:close/>
              </a:path>
            </a:pathLst>
          </a:custGeom>
          <a:solidFill>
            <a:srgbClr val="C51A1B"/>
          </a:solidFill>
        </p:spPr>
        <p:txBody>
          <a:bodyPr wrap="square" lIns="0" tIns="0" rIns="0" bIns="0" rtlCol="0"/>
          <a:lstStyle/>
          <a:p>
            <a:endParaRPr/>
          </a:p>
        </p:txBody>
      </p:sp>
      <p:sp>
        <p:nvSpPr>
          <p:cNvPr id="71" name="object 71"/>
          <p:cNvSpPr txBox="1"/>
          <p:nvPr/>
        </p:nvSpPr>
        <p:spPr>
          <a:xfrm>
            <a:off x="2589705" y="3270757"/>
            <a:ext cx="3218826" cy="472011"/>
          </a:xfrm>
          <a:prstGeom prst="rect">
            <a:avLst/>
          </a:prstGeom>
        </p:spPr>
        <p:txBody>
          <a:bodyPr vert="horz" wrap="square" lIns="0" tIns="11516" rIns="0" bIns="0" rtlCol="0">
            <a:spAutoFit/>
          </a:bodyPr>
          <a:lstStyle/>
          <a:p>
            <a:pPr marL="11516" marR="4607">
              <a:spcBef>
                <a:spcPts val="91"/>
              </a:spcBef>
            </a:pPr>
            <a:r>
              <a:rPr sz="1496">
                <a:solidFill>
                  <a:srgbClr val="C51A1B"/>
                </a:solidFill>
                <a:latin typeface="Gill Sans MT"/>
                <a:cs typeface="Gill Sans MT"/>
              </a:rPr>
              <a:t>Beratungs-</a:t>
            </a:r>
            <a:r>
              <a:rPr sz="1496" spc="59">
                <a:solidFill>
                  <a:srgbClr val="C51A1B"/>
                </a:solidFill>
                <a:latin typeface="Gill Sans MT"/>
                <a:cs typeface="Gill Sans MT"/>
              </a:rPr>
              <a:t> </a:t>
            </a:r>
            <a:r>
              <a:rPr sz="1496">
                <a:solidFill>
                  <a:srgbClr val="C51A1B"/>
                </a:solidFill>
                <a:latin typeface="Gill Sans MT"/>
                <a:cs typeface="Gill Sans MT"/>
              </a:rPr>
              <a:t>und</a:t>
            </a:r>
            <a:r>
              <a:rPr sz="1496" spc="59">
                <a:solidFill>
                  <a:srgbClr val="C51A1B"/>
                </a:solidFill>
                <a:latin typeface="Gill Sans MT"/>
                <a:cs typeface="Gill Sans MT"/>
              </a:rPr>
              <a:t> </a:t>
            </a:r>
            <a:r>
              <a:rPr sz="1496" spc="-9">
                <a:solidFill>
                  <a:srgbClr val="C51A1B"/>
                </a:solidFill>
                <a:latin typeface="Gill Sans MT"/>
                <a:cs typeface="Gill Sans MT"/>
              </a:rPr>
              <a:t>Unterstützungsangebote </a:t>
            </a:r>
            <a:r>
              <a:rPr sz="1496">
                <a:solidFill>
                  <a:srgbClr val="C51A1B"/>
                </a:solidFill>
                <a:latin typeface="Gill Sans MT"/>
                <a:cs typeface="Gill Sans MT"/>
              </a:rPr>
              <a:t>für</a:t>
            </a:r>
            <a:r>
              <a:rPr sz="1496" spc="18">
                <a:solidFill>
                  <a:srgbClr val="C51A1B"/>
                </a:solidFill>
                <a:latin typeface="Gill Sans MT"/>
                <a:cs typeface="Gill Sans MT"/>
              </a:rPr>
              <a:t> </a:t>
            </a:r>
            <a:r>
              <a:rPr sz="1496">
                <a:solidFill>
                  <a:srgbClr val="C51A1B"/>
                </a:solidFill>
                <a:latin typeface="Gill Sans MT"/>
                <a:cs typeface="Gill Sans MT"/>
              </a:rPr>
              <a:t>pastorale</a:t>
            </a:r>
            <a:r>
              <a:rPr sz="1496" spc="23">
                <a:solidFill>
                  <a:srgbClr val="C51A1B"/>
                </a:solidFill>
                <a:latin typeface="Gill Sans MT"/>
                <a:cs typeface="Gill Sans MT"/>
              </a:rPr>
              <a:t> </a:t>
            </a:r>
            <a:r>
              <a:rPr sz="1496">
                <a:solidFill>
                  <a:srgbClr val="C51A1B"/>
                </a:solidFill>
                <a:latin typeface="Gill Sans MT"/>
                <a:cs typeface="Gill Sans MT"/>
              </a:rPr>
              <a:t>Räte</a:t>
            </a:r>
            <a:r>
              <a:rPr sz="1496" spc="14">
                <a:solidFill>
                  <a:srgbClr val="C51A1B"/>
                </a:solidFill>
                <a:latin typeface="Gill Sans MT"/>
                <a:cs typeface="Gill Sans MT"/>
              </a:rPr>
              <a:t> </a:t>
            </a:r>
            <a:r>
              <a:rPr sz="1496">
                <a:solidFill>
                  <a:srgbClr val="C51A1B"/>
                </a:solidFill>
                <a:latin typeface="Gill Sans MT"/>
                <a:cs typeface="Gill Sans MT"/>
              </a:rPr>
              <a:t>im</a:t>
            </a:r>
            <a:r>
              <a:rPr sz="1496" spc="23">
                <a:solidFill>
                  <a:srgbClr val="C51A1B"/>
                </a:solidFill>
                <a:latin typeface="Gill Sans MT"/>
                <a:cs typeface="Gill Sans MT"/>
              </a:rPr>
              <a:t> </a:t>
            </a:r>
            <a:r>
              <a:rPr sz="1496">
                <a:solidFill>
                  <a:srgbClr val="C51A1B"/>
                </a:solidFill>
                <a:latin typeface="Gill Sans MT"/>
                <a:cs typeface="Gill Sans MT"/>
              </a:rPr>
              <a:t>Bistum</a:t>
            </a:r>
            <a:r>
              <a:rPr sz="1496" spc="23">
                <a:solidFill>
                  <a:srgbClr val="C51A1B"/>
                </a:solidFill>
                <a:latin typeface="Gill Sans MT"/>
                <a:cs typeface="Gill Sans MT"/>
              </a:rPr>
              <a:t> </a:t>
            </a:r>
            <a:r>
              <a:rPr sz="1496" spc="-9">
                <a:solidFill>
                  <a:srgbClr val="C51A1B"/>
                </a:solidFill>
                <a:latin typeface="Gill Sans MT"/>
                <a:cs typeface="Gill Sans MT"/>
              </a:rPr>
              <a:t>Trier</a:t>
            </a:r>
            <a:endParaRPr sz="1496">
              <a:latin typeface="Gill Sans MT"/>
              <a:cs typeface="Gill Sans MT"/>
            </a:endParaRPr>
          </a:p>
        </p:txBody>
      </p:sp>
      <p:grpSp>
        <p:nvGrpSpPr>
          <p:cNvPr id="72" name="object 72"/>
          <p:cNvGrpSpPr/>
          <p:nvPr/>
        </p:nvGrpSpPr>
        <p:grpSpPr>
          <a:xfrm>
            <a:off x="2284137" y="5503924"/>
            <a:ext cx="1632446" cy="1352022"/>
            <a:chOff x="143995" y="6069605"/>
            <a:chExt cx="1800225" cy="1490980"/>
          </a:xfrm>
        </p:grpSpPr>
        <p:sp>
          <p:nvSpPr>
            <p:cNvPr id="73" name="object 73"/>
            <p:cNvSpPr/>
            <p:nvPr/>
          </p:nvSpPr>
          <p:spPr>
            <a:xfrm>
              <a:off x="143995" y="6069605"/>
              <a:ext cx="1800225" cy="1490980"/>
            </a:xfrm>
            <a:custGeom>
              <a:avLst/>
              <a:gdLst/>
              <a:ahLst/>
              <a:cxnLst/>
              <a:rect l="l" t="t" r="r" b="b"/>
              <a:pathLst>
                <a:path w="1800225" h="1490979">
                  <a:moveTo>
                    <a:pt x="1792757" y="0"/>
                  </a:moveTo>
                  <a:lnTo>
                    <a:pt x="16205" y="0"/>
                  </a:lnTo>
                  <a:lnTo>
                    <a:pt x="7264" y="0"/>
                  </a:lnTo>
                  <a:lnTo>
                    <a:pt x="0" y="7251"/>
                  </a:lnTo>
                  <a:lnTo>
                    <a:pt x="0" y="1483144"/>
                  </a:lnTo>
                  <a:lnTo>
                    <a:pt x="7264" y="1490395"/>
                  </a:lnTo>
                  <a:lnTo>
                    <a:pt x="1792757" y="1490395"/>
                  </a:lnTo>
                  <a:lnTo>
                    <a:pt x="1800009" y="1483144"/>
                  </a:lnTo>
                  <a:lnTo>
                    <a:pt x="1800009" y="7251"/>
                  </a:lnTo>
                  <a:lnTo>
                    <a:pt x="1792757" y="0"/>
                  </a:lnTo>
                  <a:close/>
                </a:path>
              </a:pathLst>
            </a:custGeom>
            <a:solidFill>
              <a:srgbClr val="FFFFFF"/>
            </a:solidFill>
          </p:spPr>
          <p:txBody>
            <a:bodyPr wrap="square" lIns="0" tIns="0" rIns="0" bIns="0" rtlCol="0"/>
            <a:lstStyle/>
            <a:p>
              <a:endParaRPr/>
            </a:p>
          </p:txBody>
        </p:sp>
        <p:pic>
          <p:nvPicPr>
            <p:cNvPr id="74" name="object 74"/>
            <p:cNvPicPr/>
            <p:nvPr/>
          </p:nvPicPr>
          <p:blipFill>
            <a:blip r:embed="rId31" cstate="print"/>
            <a:stretch>
              <a:fillRect/>
            </a:stretch>
          </p:blipFill>
          <p:spPr>
            <a:xfrm>
              <a:off x="477329" y="6256477"/>
              <a:ext cx="1084529" cy="419328"/>
            </a:xfrm>
            <a:prstGeom prst="rect">
              <a:avLst/>
            </a:prstGeom>
          </p:spPr>
        </p:pic>
      </p:grpSp>
      <p:sp>
        <p:nvSpPr>
          <p:cNvPr id="75" name="object 75"/>
          <p:cNvSpPr txBox="1"/>
          <p:nvPr/>
        </p:nvSpPr>
        <p:spPr>
          <a:xfrm>
            <a:off x="2573254" y="5984917"/>
            <a:ext cx="1052021" cy="530849"/>
          </a:xfrm>
          <a:prstGeom prst="rect">
            <a:avLst/>
          </a:prstGeom>
        </p:spPr>
        <p:txBody>
          <a:bodyPr vert="horz" wrap="square" lIns="0" tIns="42035" rIns="0" bIns="0" rtlCol="0">
            <a:spAutoFit/>
          </a:bodyPr>
          <a:lstStyle/>
          <a:p>
            <a:pPr marL="124953" marR="4607" indent="-114012">
              <a:lnSpc>
                <a:spcPts val="1877"/>
              </a:lnSpc>
              <a:spcBef>
                <a:spcPts val="331"/>
              </a:spcBef>
            </a:pPr>
            <a:r>
              <a:rPr sz="1723" spc="254">
                <a:solidFill>
                  <a:srgbClr val="706F6F"/>
                </a:solidFill>
                <a:latin typeface="Garamond"/>
                <a:cs typeface="Garamond"/>
              </a:rPr>
              <a:t>BISTUM </a:t>
            </a:r>
            <a:r>
              <a:rPr sz="1723" spc="195">
                <a:solidFill>
                  <a:srgbClr val="706F6F"/>
                </a:solidFill>
                <a:latin typeface="Garamond"/>
                <a:cs typeface="Garamond"/>
              </a:rPr>
              <a:t>TRIER </a:t>
            </a:r>
            <a:endParaRPr sz="1723">
              <a:latin typeface="Garamond"/>
              <a:cs typeface="Garamond"/>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uppieren 29">
            <a:extLst>
              <a:ext uri="{FF2B5EF4-FFF2-40B4-BE49-F238E27FC236}">
                <a16:creationId xmlns:a16="http://schemas.microsoft.com/office/drawing/2014/main" xmlns="" id="{12407CD9-696D-C296-F30E-F9CACADF646A}"/>
              </a:ext>
            </a:extLst>
          </p:cNvPr>
          <p:cNvGrpSpPr/>
          <p:nvPr/>
        </p:nvGrpSpPr>
        <p:grpSpPr>
          <a:xfrm>
            <a:off x="2606027" y="469058"/>
            <a:ext cx="4379436" cy="5905184"/>
            <a:chOff x="2606027" y="469058"/>
            <a:chExt cx="4379436" cy="5905184"/>
          </a:xfrm>
        </p:grpSpPr>
        <p:sp>
          <p:nvSpPr>
            <p:cNvPr id="2" name="object 2"/>
            <p:cNvSpPr/>
            <p:nvPr/>
          </p:nvSpPr>
          <p:spPr>
            <a:xfrm>
              <a:off x="3225408" y="6036931"/>
              <a:ext cx="48369" cy="48945"/>
            </a:xfrm>
            <a:custGeom>
              <a:avLst/>
              <a:gdLst/>
              <a:ahLst/>
              <a:cxnLst/>
              <a:rect l="l" t="t" r="r" b="b"/>
              <a:pathLst>
                <a:path w="53340" h="53975">
                  <a:moveTo>
                    <a:pt x="48044" y="0"/>
                  </a:moveTo>
                  <a:lnTo>
                    <a:pt x="5003" y="0"/>
                  </a:lnTo>
                  <a:lnTo>
                    <a:pt x="0" y="4991"/>
                  </a:lnTo>
                  <a:lnTo>
                    <a:pt x="0" y="48691"/>
                  </a:lnTo>
                  <a:lnTo>
                    <a:pt x="5003" y="53695"/>
                  </a:lnTo>
                  <a:lnTo>
                    <a:pt x="41871" y="53695"/>
                  </a:lnTo>
                  <a:lnTo>
                    <a:pt x="48044" y="53695"/>
                  </a:lnTo>
                  <a:lnTo>
                    <a:pt x="53047" y="48691"/>
                  </a:lnTo>
                  <a:lnTo>
                    <a:pt x="53047" y="4991"/>
                  </a:lnTo>
                  <a:lnTo>
                    <a:pt x="48044" y="0"/>
                  </a:lnTo>
                  <a:close/>
                </a:path>
              </a:pathLst>
            </a:custGeom>
            <a:solidFill>
              <a:srgbClr val="5082C3"/>
            </a:solidFill>
          </p:spPr>
          <p:txBody>
            <a:bodyPr wrap="square" lIns="0" tIns="0" rIns="0" bIns="0" rtlCol="0"/>
            <a:lstStyle/>
            <a:p>
              <a:endParaRPr/>
            </a:p>
          </p:txBody>
        </p:sp>
        <p:grpSp>
          <p:nvGrpSpPr>
            <p:cNvPr id="3" name="object 3"/>
            <p:cNvGrpSpPr/>
            <p:nvPr/>
          </p:nvGrpSpPr>
          <p:grpSpPr>
            <a:xfrm>
              <a:off x="2741873" y="5914163"/>
              <a:ext cx="430712" cy="460079"/>
              <a:chOff x="648776" y="6522007"/>
              <a:chExt cx="474980" cy="507365"/>
            </a:xfrm>
          </p:grpSpPr>
          <p:sp>
            <p:nvSpPr>
              <p:cNvPr id="4" name="object 4"/>
              <p:cNvSpPr/>
              <p:nvPr/>
            </p:nvSpPr>
            <p:spPr>
              <a:xfrm>
                <a:off x="886053" y="6623063"/>
                <a:ext cx="237490" cy="236220"/>
              </a:xfrm>
              <a:custGeom>
                <a:avLst/>
                <a:gdLst/>
                <a:ahLst/>
                <a:cxnLst/>
                <a:rect l="l" t="t" r="r" b="b"/>
                <a:pathLst>
                  <a:path w="237490" h="236220">
                    <a:moveTo>
                      <a:pt x="201028" y="0"/>
                    </a:moveTo>
                    <a:lnTo>
                      <a:pt x="36258" y="0"/>
                    </a:lnTo>
                    <a:lnTo>
                      <a:pt x="22149" y="2848"/>
                    </a:lnTo>
                    <a:lnTo>
                      <a:pt x="10623" y="10618"/>
                    </a:lnTo>
                    <a:lnTo>
                      <a:pt x="2850" y="22143"/>
                    </a:lnTo>
                    <a:lnTo>
                      <a:pt x="0" y="36258"/>
                    </a:lnTo>
                    <a:lnTo>
                      <a:pt x="0" y="199948"/>
                    </a:lnTo>
                    <a:lnTo>
                      <a:pt x="2850" y="214063"/>
                    </a:lnTo>
                    <a:lnTo>
                      <a:pt x="10623" y="225588"/>
                    </a:lnTo>
                    <a:lnTo>
                      <a:pt x="22149" y="233358"/>
                    </a:lnTo>
                    <a:lnTo>
                      <a:pt x="36258" y="236207"/>
                    </a:lnTo>
                    <a:lnTo>
                      <a:pt x="201028" y="236207"/>
                    </a:lnTo>
                    <a:lnTo>
                      <a:pt x="215142" y="233358"/>
                    </a:lnTo>
                    <a:lnTo>
                      <a:pt x="226668" y="225588"/>
                    </a:lnTo>
                    <a:lnTo>
                      <a:pt x="234437" y="214063"/>
                    </a:lnTo>
                    <a:lnTo>
                      <a:pt x="237286" y="199948"/>
                    </a:lnTo>
                    <a:lnTo>
                      <a:pt x="237286" y="36258"/>
                    </a:lnTo>
                    <a:lnTo>
                      <a:pt x="234437" y="22143"/>
                    </a:lnTo>
                    <a:lnTo>
                      <a:pt x="226668" y="10618"/>
                    </a:lnTo>
                    <a:lnTo>
                      <a:pt x="215142" y="2848"/>
                    </a:lnTo>
                    <a:lnTo>
                      <a:pt x="201028" y="0"/>
                    </a:lnTo>
                    <a:close/>
                  </a:path>
                </a:pathLst>
              </a:custGeom>
              <a:solidFill>
                <a:srgbClr val="9DA324"/>
              </a:solidFill>
            </p:spPr>
            <p:txBody>
              <a:bodyPr wrap="square" lIns="0" tIns="0" rIns="0" bIns="0" rtlCol="0"/>
              <a:lstStyle/>
              <a:p>
                <a:endParaRPr/>
              </a:p>
            </p:txBody>
          </p:sp>
          <p:pic>
            <p:nvPicPr>
              <p:cNvPr id="5" name="object 5"/>
              <p:cNvPicPr/>
              <p:nvPr/>
            </p:nvPicPr>
            <p:blipFill>
              <a:blip r:embed="rId2" cstate="print"/>
              <a:stretch>
                <a:fillRect/>
              </a:stretch>
            </p:blipFill>
            <p:spPr>
              <a:xfrm>
                <a:off x="971247" y="6522007"/>
                <a:ext cx="74828" cy="71932"/>
              </a:xfrm>
              <a:prstGeom prst="rect">
                <a:avLst/>
              </a:prstGeom>
            </p:spPr>
          </p:pic>
          <p:sp>
            <p:nvSpPr>
              <p:cNvPr id="6" name="object 6"/>
              <p:cNvSpPr/>
              <p:nvPr/>
            </p:nvSpPr>
            <p:spPr>
              <a:xfrm>
                <a:off x="825102" y="6792989"/>
                <a:ext cx="237490" cy="236220"/>
              </a:xfrm>
              <a:custGeom>
                <a:avLst/>
                <a:gdLst/>
                <a:ahLst/>
                <a:cxnLst/>
                <a:rect l="l" t="t" r="r" b="b"/>
                <a:pathLst>
                  <a:path w="237490" h="236220">
                    <a:moveTo>
                      <a:pt x="201028" y="0"/>
                    </a:moveTo>
                    <a:lnTo>
                      <a:pt x="36258" y="0"/>
                    </a:lnTo>
                    <a:lnTo>
                      <a:pt x="22143" y="2848"/>
                    </a:lnTo>
                    <a:lnTo>
                      <a:pt x="10618" y="10618"/>
                    </a:lnTo>
                    <a:lnTo>
                      <a:pt x="2848" y="22143"/>
                    </a:lnTo>
                    <a:lnTo>
                      <a:pt x="0" y="36258"/>
                    </a:lnTo>
                    <a:lnTo>
                      <a:pt x="0" y="199948"/>
                    </a:lnTo>
                    <a:lnTo>
                      <a:pt x="2848" y="214063"/>
                    </a:lnTo>
                    <a:lnTo>
                      <a:pt x="10618" y="225588"/>
                    </a:lnTo>
                    <a:lnTo>
                      <a:pt x="22143" y="233358"/>
                    </a:lnTo>
                    <a:lnTo>
                      <a:pt x="36258" y="236207"/>
                    </a:lnTo>
                    <a:lnTo>
                      <a:pt x="201028" y="236207"/>
                    </a:lnTo>
                    <a:lnTo>
                      <a:pt x="215137" y="233358"/>
                    </a:lnTo>
                    <a:lnTo>
                      <a:pt x="226663" y="225588"/>
                    </a:lnTo>
                    <a:lnTo>
                      <a:pt x="234436" y="214063"/>
                    </a:lnTo>
                    <a:lnTo>
                      <a:pt x="237286" y="199948"/>
                    </a:lnTo>
                    <a:lnTo>
                      <a:pt x="237286" y="36258"/>
                    </a:lnTo>
                    <a:lnTo>
                      <a:pt x="234436" y="22143"/>
                    </a:lnTo>
                    <a:lnTo>
                      <a:pt x="226663" y="10618"/>
                    </a:lnTo>
                    <a:lnTo>
                      <a:pt x="215137" y="2848"/>
                    </a:lnTo>
                    <a:lnTo>
                      <a:pt x="201028" y="0"/>
                    </a:lnTo>
                    <a:close/>
                  </a:path>
                </a:pathLst>
              </a:custGeom>
              <a:solidFill>
                <a:srgbClr val="F4C000"/>
              </a:solidFill>
            </p:spPr>
            <p:txBody>
              <a:bodyPr wrap="square" lIns="0" tIns="0" rIns="0" bIns="0" rtlCol="0"/>
              <a:lstStyle/>
              <a:p>
                <a:endParaRPr/>
              </a:p>
            </p:txBody>
          </p:sp>
          <p:sp>
            <p:nvSpPr>
              <p:cNvPr id="7" name="object 7"/>
              <p:cNvSpPr/>
              <p:nvPr/>
            </p:nvSpPr>
            <p:spPr>
              <a:xfrm>
                <a:off x="648776" y="6684238"/>
                <a:ext cx="237490" cy="236220"/>
              </a:xfrm>
              <a:custGeom>
                <a:avLst/>
                <a:gdLst/>
                <a:ahLst/>
                <a:cxnLst/>
                <a:rect l="l" t="t" r="r" b="b"/>
                <a:pathLst>
                  <a:path w="237490" h="236220">
                    <a:moveTo>
                      <a:pt x="201028" y="0"/>
                    </a:moveTo>
                    <a:lnTo>
                      <a:pt x="36258" y="0"/>
                    </a:lnTo>
                    <a:lnTo>
                      <a:pt x="22143" y="2848"/>
                    </a:lnTo>
                    <a:lnTo>
                      <a:pt x="10618" y="10618"/>
                    </a:lnTo>
                    <a:lnTo>
                      <a:pt x="2848" y="22143"/>
                    </a:lnTo>
                    <a:lnTo>
                      <a:pt x="0" y="36258"/>
                    </a:lnTo>
                    <a:lnTo>
                      <a:pt x="0" y="199948"/>
                    </a:lnTo>
                    <a:lnTo>
                      <a:pt x="2848" y="214063"/>
                    </a:lnTo>
                    <a:lnTo>
                      <a:pt x="10618" y="225588"/>
                    </a:lnTo>
                    <a:lnTo>
                      <a:pt x="22143" y="233358"/>
                    </a:lnTo>
                    <a:lnTo>
                      <a:pt x="36258" y="236207"/>
                    </a:lnTo>
                    <a:lnTo>
                      <a:pt x="201028" y="236207"/>
                    </a:lnTo>
                    <a:lnTo>
                      <a:pt x="215137" y="233358"/>
                    </a:lnTo>
                    <a:lnTo>
                      <a:pt x="226663" y="225588"/>
                    </a:lnTo>
                    <a:lnTo>
                      <a:pt x="234436" y="214063"/>
                    </a:lnTo>
                    <a:lnTo>
                      <a:pt x="237286" y="199948"/>
                    </a:lnTo>
                    <a:lnTo>
                      <a:pt x="237286" y="36258"/>
                    </a:lnTo>
                    <a:lnTo>
                      <a:pt x="234436" y="22143"/>
                    </a:lnTo>
                    <a:lnTo>
                      <a:pt x="226663" y="10618"/>
                    </a:lnTo>
                    <a:lnTo>
                      <a:pt x="215137" y="2848"/>
                    </a:lnTo>
                    <a:lnTo>
                      <a:pt x="201028" y="0"/>
                    </a:lnTo>
                    <a:close/>
                  </a:path>
                </a:pathLst>
              </a:custGeom>
              <a:solidFill>
                <a:srgbClr val="F18700"/>
              </a:solidFill>
            </p:spPr>
            <p:txBody>
              <a:bodyPr wrap="square" lIns="0" tIns="0" rIns="0" bIns="0" rtlCol="0"/>
              <a:lstStyle/>
              <a:p>
                <a:endParaRPr/>
              </a:p>
            </p:txBody>
          </p:sp>
        </p:grpSp>
        <p:sp>
          <p:nvSpPr>
            <p:cNvPr id="8" name="object 8"/>
            <p:cNvSpPr/>
            <p:nvPr/>
          </p:nvSpPr>
          <p:spPr>
            <a:xfrm>
              <a:off x="2643232" y="6234884"/>
              <a:ext cx="52399" cy="52399"/>
            </a:xfrm>
            <a:custGeom>
              <a:avLst/>
              <a:gdLst/>
              <a:ahLst/>
              <a:cxnLst/>
              <a:rect l="l" t="t" r="r" b="b"/>
              <a:pathLst>
                <a:path w="57784" h="57784">
                  <a:moveTo>
                    <a:pt x="52501" y="0"/>
                  </a:moveTo>
                  <a:lnTo>
                    <a:pt x="46329" y="0"/>
                  </a:lnTo>
                  <a:lnTo>
                    <a:pt x="5003" y="0"/>
                  </a:lnTo>
                  <a:lnTo>
                    <a:pt x="0" y="5003"/>
                  </a:lnTo>
                  <a:lnTo>
                    <a:pt x="0" y="52451"/>
                  </a:lnTo>
                  <a:lnTo>
                    <a:pt x="5003" y="57454"/>
                  </a:lnTo>
                  <a:lnTo>
                    <a:pt x="52501" y="57454"/>
                  </a:lnTo>
                  <a:lnTo>
                    <a:pt x="57505" y="52451"/>
                  </a:lnTo>
                  <a:lnTo>
                    <a:pt x="57505" y="5003"/>
                  </a:lnTo>
                  <a:lnTo>
                    <a:pt x="52501" y="0"/>
                  </a:lnTo>
                  <a:close/>
                </a:path>
              </a:pathLst>
            </a:custGeom>
            <a:solidFill>
              <a:srgbClr val="F18700"/>
            </a:solidFill>
          </p:spPr>
          <p:txBody>
            <a:bodyPr wrap="square" lIns="0" tIns="0" rIns="0" bIns="0" rtlCol="0"/>
            <a:lstStyle/>
            <a:p>
              <a:endParaRPr/>
            </a:p>
          </p:txBody>
        </p:sp>
        <p:sp>
          <p:nvSpPr>
            <p:cNvPr id="9" name="object 9"/>
            <p:cNvSpPr/>
            <p:nvPr/>
          </p:nvSpPr>
          <p:spPr>
            <a:xfrm>
              <a:off x="3034291" y="6108435"/>
              <a:ext cx="215356" cy="214205"/>
            </a:xfrm>
            <a:custGeom>
              <a:avLst/>
              <a:gdLst/>
              <a:ahLst/>
              <a:cxnLst/>
              <a:rect l="l" t="t" r="r" b="b"/>
              <a:pathLst>
                <a:path w="237490" h="236220">
                  <a:moveTo>
                    <a:pt x="201028" y="0"/>
                  </a:moveTo>
                  <a:lnTo>
                    <a:pt x="36258" y="0"/>
                  </a:lnTo>
                  <a:lnTo>
                    <a:pt x="22143" y="2848"/>
                  </a:lnTo>
                  <a:lnTo>
                    <a:pt x="10618" y="10618"/>
                  </a:lnTo>
                  <a:lnTo>
                    <a:pt x="2848" y="22143"/>
                  </a:lnTo>
                  <a:lnTo>
                    <a:pt x="0" y="36258"/>
                  </a:lnTo>
                  <a:lnTo>
                    <a:pt x="0" y="199948"/>
                  </a:lnTo>
                  <a:lnTo>
                    <a:pt x="2848" y="214063"/>
                  </a:lnTo>
                  <a:lnTo>
                    <a:pt x="10618" y="225588"/>
                  </a:lnTo>
                  <a:lnTo>
                    <a:pt x="22143" y="233358"/>
                  </a:lnTo>
                  <a:lnTo>
                    <a:pt x="36258" y="236207"/>
                  </a:lnTo>
                  <a:lnTo>
                    <a:pt x="201028" y="236207"/>
                  </a:lnTo>
                  <a:lnTo>
                    <a:pt x="215137" y="233358"/>
                  </a:lnTo>
                  <a:lnTo>
                    <a:pt x="226663" y="225588"/>
                  </a:lnTo>
                  <a:lnTo>
                    <a:pt x="234436" y="214063"/>
                  </a:lnTo>
                  <a:lnTo>
                    <a:pt x="237286" y="199948"/>
                  </a:lnTo>
                  <a:lnTo>
                    <a:pt x="237286" y="36258"/>
                  </a:lnTo>
                  <a:lnTo>
                    <a:pt x="234436" y="22143"/>
                  </a:lnTo>
                  <a:lnTo>
                    <a:pt x="226663" y="10618"/>
                  </a:lnTo>
                  <a:lnTo>
                    <a:pt x="215137" y="2848"/>
                  </a:lnTo>
                  <a:lnTo>
                    <a:pt x="201028" y="0"/>
                  </a:lnTo>
                  <a:close/>
                </a:path>
              </a:pathLst>
            </a:custGeom>
            <a:solidFill>
              <a:srgbClr val="5082C3"/>
            </a:solidFill>
          </p:spPr>
          <p:txBody>
            <a:bodyPr wrap="square" lIns="0" tIns="0" rIns="0" bIns="0" rtlCol="0"/>
            <a:lstStyle/>
            <a:p>
              <a:endParaRPr/>
            </a:p>
          </p:txBody>
        </p:sp>
        <p:sp>
          <p:nvSpPr>
            <p:cNvPr id="10" name="object 10"/>
            <p:cNvSpPr/>
            <p:nvPr/>
          </p:nvSpPr>
          <p:spPr>
            <a:xfrm>
              <a:off x="2675703" y="5939811"/>
              <a:ext cx="317276" cy="229175"/>
            </a:xfrm>
            <a:custGeom>
              <a:avLst/>
              <a:gdLst/>
              <a:ahLst/>
              <a:cxnLst/>
              <a:rect l="l" t="t" r="r" b="b"/>
              <a:pathLst>
                <a:path w="349884" h="252729">
                  <a:moveTo>
                    <a:pt x="72974" y="7150"/>
                  </a:moveTo>
                  <a:lnTo>
                    <a:pt x="65824" y="0"/>
                  </a:lnTo>
                  <a:lnTo>
                    <a:pt x="15963" y="0"/>
                  </a:lnTo>
                  <a:lnTo>
                    <a:pt x="7150" y="0"/>
                  </a:lnTo>
                  <a:lnTo>
                    <a:pt x="0" y="7150"/>
                  </a:lnTo>
                  <a:lnTo>
                    <a:pt x="0" y="65633"/>
                  </a:lnTo>
                  <a:lnTo>
                    <a:pt x="7150" y="72771"/>
                  </a:lnTo>
                  <a:lnTo>
                    <a:pt x="65824" y="72771"/>
                  </a:lnTo>
                  <a:lnTo>
                    <a:pt x="72974" y="65633"/>
                  </a:lnTo>
                  <a:lnTo>
                    <a:pt x="72974" y="7150"/>
                  </a:lnTo>
                  <a:close/>
                </a:path>
                <a:path w="349884" h="252729">
                  <a:moveTo>
                    <a:pt x="349288" y="52374"/>
                  </a:moveTo>
                  <a:lnTo>
                    <a:pt x="346430" y="38265"/>
                  </a:lnTo>
                  <a:lnTo>
                    <a:pt x="338658" y="26733"/>
                  </a:lnTo>
                  <a:lnTo>
                    <a:pt x="327139" y="18961"/>
                  </a:lnTo>
                  <a:lnTo>
                    <a:pt x="313029" y="16116"/>
                  </a:lnTo>
                  <a:lnTo>
                    <a:pt x="148259" y="16116"/>
                  </a:lnTo>
                  <a:lnTo>
                    <a:pt x="134137" y="18961"/>
                  </a:lnTo>
                  <a:lnTo>
                    <a:pt x="122618" y="26733"/>
                  </a:lnTo>
                  <a:lnTo>
                    <a:pt x="114846" y="38265"/>
                  </a:lnTo>
                  <a:lnTo>
                    <a:pt x="112001" y="52374"/>
                  </a:lnTo>
                  <a:lnTo>
                    <a:pt x="112001" y="216065"/>
                  </a:lnTo>
                  <a:lnTo>
                    <a:pt x="114846" y="230174"/>
                  </a:lnTo>
                  <a:lnTo>
                    <a:pt x="122618" y="241706"/>
                  </a:lnTo>
                  <a:lnTo>
                    <a:pt x="134137" y="249478"/>
                  </a:lnTo>
                  <a:lnTo>
                    <a:pt x="148259" y="252323"/>
                  </a:lnTo>
                  <a:lnTo>
                    <a:pt x="313029" y="252323"/>
                  </a:lnTo>
                  <a:lnTo>
                    <a:pt x="327139" y="249478"/>
                  </a:lnTo>
                  <a:lnTo>
                    <a:pt x="338658" y="241706"/>
                  </a:lnTo>
                  <a:lnTo>
                    <a:pt x="346430" y="230174"/>
                  </a:lnTo>
                  <a:lnTo>
                    <a:pt x="349288" y="216065"/>
                  </a:lnTo>
                  <a:lnTo>
                    <a:pt x="349288" y="52374"/>
                  </a:lnTo>
                  <a:close/>
                </a:path>
              </a:pathLst>
            </a:custGeom>
            <a:solidFill>
              <a:srgbClr val="C51A1B"/>
            </a:solidFill>
          </p:spPr>
          <p:txBody>
            <a:bodyPr wrap="square" lIns="0" tIns="0" rIns="0" bIns="0" rtlCol="0"/>
            <a:lstStyle/>
            <a:p>
              <a:endParaRPr/>
            </a:p>
          </p:txBody>
        </p:sp>
        <p:grpSp>
          <p:nvGrpSpPr>
            <p:cNvPr id="11" name="object 11"/>
            <p:cNvGrpSpPr/>
            <p:nvPr/>
          </p:nvGrpSpPr>
          <p:grpSpPr>
            <a:xfrm>
              <a:off x="3295792" y="6108748"/>
              <a:ext cx="327641" cy="215356"/>
              <a:chOff x="1259626" y="6736591"/>
              <a:chExt cx="361315" cy="237490"/>
            </a:xfrm>
          </p:grpSpPr>
          <p:sp>
            <p:nvSpPr>
              <p:cNvPr id="12" name="object 12"/>
              <p:cNvSpPr/>
              <p:nvPr/>
            </p:nvSpPr>
            <p:spPr>
              <a:xfrm>
                <a:off x="1580560" y="6928765"/>
                <a:ext cx="40640" cy="40640"/>
              </a:xfrm>
              <a:custGeom>
                <a:avLst/>
                <a:gdLst/>
                <a:ahLst/>
                <a:cxnLst/>
                <a:rect l="l" t="t" r="r" b="b"/>
                <a:pathLst>
                  <a:path w="40640" h="40640">
                    <a:moveTo>
                      <a:pt x="37490" y="0"/>
                    </a:moveTo>
                    <a:lnTo>
                      <a:pt x="2717" y="0"/>
                    </a:lnTo>
                    <a:lnTo>
                      <a:pt x="0" y="2730"/>
                    </a:lnTo>
                    <a:lnTo>
                      <a:pt x="0" y="34137"/>
                    </a:lnTo>
                    <a:lnTo>
                      <a:pt x="0" y="37490"/>
                    </a:lnTo>
                    <a:lnTo>
                      <a:pt x="2717" y="40220"/>
                    </a:lnTo>
                    <a:lnTo>
                      <a:pt x="37490" y="40220"/>
                    </a:lnTo>
                    <a:lnTo>
                      <a:pt x="40208" y="37490"/>
                    </a:lnTo>
                    <a:lnTo>
                      <a:pt x="40208" y="2730"/>
                    </a:lnTo>
                    <a:lnTo>
                      <a:pt x="37490" y="0"/>
                    </a:lnTo>
                    <a:close/>
                  </a:path>
                </a:pathLst>
              </a:custGeom>
              <a:solidFill>
                <a:srgbClr val="30485F"/>
              </a:solidFill>
            </p:spPr>
            <p:txBody>
              <a:bodyPr wrap="square" lIns="0" tIns="0" rIns="0" bIns="0" rtlCol="0"/>
              <a:lstStyle/>
              <a:p>
                <a:endParaRPr/>
              </a:p>
            </p:txBody>
          </p:sp>
          <p:pic>
            <p:nvPicPr>
              <p:cNvPr id="13" name="object 13"/>
              <p:cNvPicPr/>
              <p:nvPr/>
            </p:nvPicPr>
            <p:blipFill>
              <a:blip r:embed="rId3" cstate="print"/>
              <a:stretch>
                <a:fillRect/>
              </a:stretch>
            </p:blipFill>
            <p:spPr>
              <a:xfrm>
                <a:off x="1259626" y="6736591"/>
                <a:ext cx="297667" cy="237070"/>
              </a:xfrm>
              <a:prstGeom prst="rect">
                <a:avLst/>
              </a:prstGeom>
            </p:spPr>
          </p:pic>
        </p:grpSp>
        <p:pic>
          <p:nvPicPr>
            <p:cNvPr id="14" name="object 14"/>
            <p:cNvPicPr/>
            <p:nvPr/>
          </p:nvPicPr>
          <p:blipFill>
            <a:blip r:embed="rId4" cstate="print"/>
            <a:stretch>
              <a:fillRect/>
            </a:stretch>
          </p:blipFill>
          <p:spPr>
            <a:xfrm>
              <a:off x="3688914" y="6100836"/>
              <a:ext cx="1216117" cy="224255"/>
            </a:xfrm>
            <a:prstGeom prst="rect">
              <a:avLst/>
            </a:prstGeom>
          </p:spPr>
        </p:pic>
        <p:sp>
          <p:nvSpPr>
            <p:cNvPr id="15" name="object 15"/>
            <p:cNvSpPr txBox="1"/>
            <p:nvPr/>
          </p:nvSpPr>
          <p:spPr>
            <a:xfrm>
              <a:off x="2631718" y="1183850"/>
              <a:ext cx="1502887" cy="732263"/>
            </a:xfrm>
            <a:prstGeom prst="rect">
              <a:avLst/>
            </a:prstGeom>
          </p:spPr>
          <p:txBody>
            <a:bodyPr vert="horz" wrap="square" lIns="0" tIns="18426" rIns="0" bIns="0" rtlCol="0">
              <a:spAutoFit/>
            </a:bodyPr>
            <a:lstStyle/>
            <a:p>
              <a:pPr marL="11516">
                <a:spcBef>
                  <a:spcPts val="145"/>
                </a:spcBef>
              </a:pPr>
              <a:r>
                <a:rPr sz="861" b="1" spc="-9" dirty="0" err="1">
                  <a:solidFill>
                    <a:srgbClr val="646363"/>
                  </a:solidFill>
                  <a:latin typeface="Calibri"/>
                  <a:cs typeface="Calibri"/>
                </a:rPr>
                <a:t>Beratung</a:t>
              </a:r>
              <a:endParaRPr sz="861" dirty="0">
                <a:latin typeface="Calibri"/>
                <a:cs typeface="Calibri"/>
              </a:endParaRPr>
            </a:p>
            <a:p>
              <a:pPr marL="11516">
                <a:spcBef>
                  <a:spcPts val="54"/>
                </a:spcBef>
              </a:pPr>
              <a:r>
                <a:rPr sz="861" dirty="0" err="1">
                  <a:solidFill>
                    <a:srgbClr val="646363"/>
                  </a:solidFill>
                  <a:latin typeface="Calibri"/>
                  <a:cs typeface="Calibri"/>
                </a:rPr>
                <a:t>telefonisch</a:t>
              </a:r>
              <a:r>
                <a:rPr sz="861" dirty="0">
                  <a:solidFill>
                    <a:srgbClr val="646363"/>
                  </a:solidFill>
                  <a:latin typeface="Calibri"/>
                  <a:cs typeface="Calibri"/>
                </a:rPr>
                <a:t>,</a:t>
              </a:r>
              <a:r>
                <a:rPr sz="861" spc="-5" dirty="0">
                  <a:solidFill>
                    <a:srgbClr val="646363"/>
                  </a:solidFill>
                  <a:latin typeface="Calibri"/>
                  <a:cs typeface="Calibri"/>
                </a:rPr>
                <a:t> </a:t>
              </a:r>
              <a:r>
                <a:rPr sz="861" dirty="0">
                  <a:solidFill>
                    <a:srgbClr val="646363"/>
                  </a:solidFill>
                  <a:latin typeface="Calibri"/>
                  <a:cs typeface="Calibri"/>
                </a:rPr>
                <a:t>online</a:t>
              </a:r>
              <a:r>
                <a:rPr sz="861" spc="-5" dirty="0">
                  <a:solidFill>
                    <a:srgbClr val="646363"/>
                  </a:solidFill>
                  <a:latin typeface="Calibri"/>
                  <a:cs typeface="Calibri"/>
                </a:rPr>
                <a:t> </a:t>
              </a:r>
              <a:r>
                <a:rPr sz="861" spc="-18" dirty="0">
                  <a:solidFill>
                    <a:srgbClr val="646363"/>
                  </a:solidFill>
                  <a:latin typeface="Calibri"/>
                  <a:cs typeface="Calibri"/>
                </a:rPr>
                <a:t>oder</a:t>
              </a:r>
              <a:r>
                <a:rPr sz="861" spc="-5" dirty="0">
                  <a:solidFill>
                    <a:srgbClr val="646363"/>
                  </a:solidFill>
                  <a:latin typeface="Calibri"/>
                  <a:cs typeface="Calibri"/>
                </a:rPr>
                <a:t> </a:t>
              </a:r>
              <a:r>
                <a:rPr sz="861" spc="-18" dirty="0" err="1">
                  <a:solidFill>
                    <a:srgbClr val="646363"/>
                  </a:solidFill>
                  <a:latin typeface="Calibri"/>
                  <a:cs typeface="Calibri"/>
                </a:rPr>
                <a:t>vor</a:t>
              </a:r>
              <a:r>
                <a:rPr sz="861" spc="-5" dirty="0">
                  <a:solidFill>
                    <a:srgbClr val="646363"/>
                  </a:solidFill>
                  <a:latin typeface="Calibri"/>
                  <a:cs typeface="Calibri"/>
                </a:rPr>
                <a:t> </a:t>
              </a:r>
              <a:r>
                <a:rPr sz="861" spc="-23" dirty="0">
                  <a:solidFill>
                    <a:srgbClr val="646363"/>
                  </a:solidFill>
                  <a:latin typeface="Calibri"/>
                  <a:cs typeface="Calibri"/>
                </a:rPr>
                <a:t>Ort</a:t>
              </a:r>
              <a:endParaRPr sz="861" dirty="0">
                <a:latin typeface="Calibri"/>
                <a:cs typeface="Calibri"/>
              </a:endParaRPr>
            </a:p>
            <a:p>
              <a:pPr marL="174473" indent="-162956">
                <a:spcBef>
                  <a:spcPts val="54"/>
                </a:spcBef>
                <a:buChar char="•"/>
                <a:tabLst>
                  <a:tab pos="174473" algn="l"/>
                </a:tabLst>
              </a:pPr>
              <a:r>
                <a:rPr sz="861" dirty="0" err="1">
                  <a:solidFill>
                    <a:srgbClr val="646363"/>
                  </a:solidFill>
                  <a:latin typeface="Calibri"/>
                  <a:cs typeface="Calibri"/>
                </a:rPr>
                <a:t>Individuelle</a:t>
              </a:r>
              <a:r>
                <a:rPr sz="861" spc="23" dirty="0">
                  <a:solidFill>
                    <a:srgbClr val="646363"/>
                  </a:solidFill>
                  <a:latin typeface="Calibri"/>
                  <a:cs typeface="Calibri"/>
                </a:rPr>
                <a:t> </a:t>
              </a:r>
              <a:r>
                <a:rPr sz="861" spc="-9" dirty="0" err="1">
                  <a:solidFill>
                    <a:srgbClr val="646363"/>
                  </a:solidFill>
                  <a:latin typeface="Calibri"/>
                  <a:cs typeface="Calibri"/>
                </a:rPr>
                <a:t>Beratung</a:t>
              </a:r>
              <a:endParaRPr sz="861" dirty="0">
                <a:latin typeface="Calibri"/>
                <a:cs typeface="Calibri"/>
              </a:endParaRPr>
            </a:p>
            <a:p>
              <a:pPr marL="174473" indent="-162956">
                <a:spcBef>
                  <a:spcPts val="54"/>
                </a:spcBef>
                <a:buChar char="•"/>
                <a:tabLst>
                  <a:tab pos="174473" algn="l"/>
                </a:tabLst>
              </a:pPr>
              <a:r>
                <a:rPr sz="861" dirty="0" err="1">
                  <a:solidFill>
                    <a:srgbClr val="646363"/>
                  </a:solidFill>
                  <a:latin typeface="Calibri"/>
                  <a:cs typeface="Calibri"/>
                </a:rPr>
                <a:t>Beratung</a:t>
              </a:r>
              <a:r>
                <a:rPr sz="861" spc="-18" dirty="0">
                  <a:solidFill>
                    <a:srgbClr val="646363"/>
                  </a:solidFill>
                  <a:latin typeface="Calibri"/>
                  <a:cs typeface="Calibri"/>
                </a:rPr>
                <a:t> </a:t>
              </a:r>
              <a:r>
                <a:rPr sz="861" dirty="0">
                  <a:solidFill>
                    <a:srgbClr val="646363"/>
                  </a:solidFill>
                  <a:latin typeface="Calibri"/>
                  <a:cs typeface="Calibri"/>
                </a:rPr>
                <a:t>von</a:t>
              </a:r>
              <a:r>
                <a:rPr sz="861" spc="-18" dirty="0">
                  <a:solidFill>
                    <a:srgbClr val="646363"/>
                  </a:solidFill>
                  <a:latin typeface="Calibri"/>
                  <a:cs typeface="Calibri"/>
                </a:rPr>
                <a:t> </a:t>
              </a:r>
              <a:r>
                <a:rPr sz="861" spc="-9" dirty="0">
                  <a:solidFill>
                    <a:srgbClr val="646363"/>
                  </a:solidFill>
                  <a:latin typeface="Calibri"/>
                  <a:cs typeface="Calibri"/>
                </a:rPr>
                <a:t>Gruppen</a:t>
              </a:r>
              <a:endParaRPr sz="861" dirty="0">
                <a:latin typeface="Calibri"/>
                <a:cs typeface="Calibri"/>
              </a:endParaRPr>
            </a:p>
            <a:p>
              <a:pPr marL="174473">
                <a:spcBef>
                  <a:spcPts val="54"/>
                </a:spcBef>
              </a:pPr>
              <a:r>
                <a:rPr sz="861" dirty="0">
                  <a:solidFill>
                    <a:srgbClr val="646363"/>
                  </a:solidFill>
                  <a:latin typeface="Calibri"/>
                  <a:cs typeface="Calibri"/>
                </a:rPr>
                <a:t>(</a:t>
              </a:r>
              <a:r>
                <a:rPr sz="861" dirty="0" err="1">
                  <a:solidFill>
                    <a:srgbClr val="646363"/>
                  </a:solidFill>
                  <a:latin typeface="Calibri"/>
                  <a:cs typeface="Calibri"/>
                </a:rPr>
                <a:t>z.B.</a:t>
              </a:r>
              <a:r>
                <a:rPr sz="861" dirty="0">
                  <a:solidFill>
                    <a:srgbClr val="646363"/>
                  </a:solidFill>
                  <a:latin typeface="Calibri"/>
                  <a:cs typeface="Calibri"/>
                </a:rPr>
                <a:t> </a:t>
              </a:r>
              <a:r>
                <a:rPr sz="861" dirty="0" err="1">
                  <a:solidFill>
                    <a:srgbClr val="646363"/>
                  </a:solidFill>
                  <a:latin typeface="Calibri"/>
                  <a:cs typeface="Calibri"/>
                </a:rPr>
                <a:t>Vorstände</a:t>
              </a:r>
              <a:r>
                <a:rPr sz="861" dirty="0">
                  <a:solidFill>
                    <a:srgbClr val="646363"/>
                  </a:solidFill>
                  <a:latin typeface="Calibri"/>
                  <a:cs typeface="Calibri"/>
                </a:rPr>
                <a:t>)</a:t>
              </a:r>
              <a:r>
                <a:rPr sz="861" spc="5" dirty="0">
                  <a:solidFill>
                    <a:srgbClr val="646363"/>
                  </a:solidFill>
                  <a:latin typeface="Calibri"/>
                  <a:cs typeface="Calibri"/>
                </a:rPr>
                <a:t> </a:t>
              </a:r>
              <a:r>
                <a:rPr sz="861" dirty="0">
                  <a:solidFill>
                    <a:srgbClr val="646363"/>
                  </a:solidFill>
                  <a:latin typeface="Calibri"/>
                  <a:cs typeface="Calibri"/>
                </a:rPr>
                <a:t>und </a:t>
              </a:r>
              <a:r>
                <a:rPr sz="861" spc="-9" dirty="0" err="1">
                  <a:solidFill>
                    <a:srgbClr val="646363"/>
                  </a:solidFill>
                  <a:latin typeface="Calibri"/>
                  <a:cs typeface="Calibri"/>
                </a:rPr>
                <a:t>Gremien</a:t>
              </a:r>
              <a:endParaRPr sz="861" dirty="0">
                <a:latin typeface="Calibri"/>
                <a:cs typeface="Calibri"/>
              </a:endParaRPr>
            </a:p>
          </p:txBody>
        </p:sp>
        <p:sp>
          <p:nvSpPr>
            <p:cNvPr id="16" name="object 16"/>
            <p:cNvSpPr txBox="1"/>
            <p:nvPr/>
          </p:nvSpPr>
          <p:spPr>
            <a:xfrm>
              <a:off x="2631718" y="2013029"/>
              <a:ext cx="1849529" cy="580374"/>
            </a:xfrm>
            <a:prstGeom prst="rect">
              <a:avLst/>
            </a:prstGeom>
          </p:spPr>
          <p:txBody>
            <a:bodyPr vert="horz" wrap="square" lIns="0" tIns="11516" rIns="0" bIns="0" rtlCol="0">
              <a:spAutoFit/>
            </a:bodyPr>
            <a:lstStyle/>
            <a:p>
              <a:pPr marL="11516" marR="462382">
                <a:lnSpc>
                  <a:spcPct val="105300"/>
                </a:lnSpc>
                <a:spcBef>
                  <a:spcPts val="91"/>
                </a:spcBef>
              </a:pPr>
              <a:r>
                <a:rPr sz="861" b="1">
                  <a:solidFill>
                    <a:srgbClr val="646363"/>
                  </a:solidFill>
                  <a:latin typeface="Calibri"/>
                  <a:cs typeface="Calibri"/>
                </a:rPr>
                <a:t>Schulungs-</a:t>
              </a:r>
              <a:r>
                <a:rPr sz="861" b="1" spc="82">
                  <a:solidFill>
                    <a:srgbClr val="646363"/>
                  </a:solidFill>
                  <a:latin typeface="Calibri"/>
                  <a:cs typeface="Calibri"/>
                </a:rPr>
                <a:t> </a:t>
              </a:r>
              <a:r>
                <a:rPr sz="861" b="1">
                  <a:solidFill>
                    <a:srgbClr val="646363"/>
                  </a:solidFill>
                  <a:latin typeface="Calibri"/>
                  <a:cs typeface="Calibri"/>
                </a:rPr>
                <a:t>und</a:t>
              </a:r>
              <a:r>
                <a:rPr sz="861" b="1" spc="82">
                  <a:solidFill>
                    <a:srgbClr val="646363"/>
                  </a:solidFill>
                  <a:latin typeface="Calibri"/>
                  <a:cs typeface="Calibri"/>
                </a:rPr>
                <a:t> </a:t>
              </a:r>
              <a:r>
                <a:rPr sz="861" b="1" spc="-9">
                  <a:solidFill>
                    <a:srgbClr val="646363"/>
                  </a:solidFill>
                  <a:latin typeface="Calibri"/>
                  <a:cs typeface="Calibri"/>
                </a:rPr>
                <a:t>Fortbildungs- veranstaltungen</a:t>
              </a:r>
              <a:endParaRPr sz="861">
                <a:latin typeface="Calibri"/>
                <a:cs typeface="Calibri"/>
              </a:endParaRPr>
            </a:p>
            <a:p>
              <a:pPr marL="174473" indent="-162956">
                <a:spcBef>
                  <a:spcPts val="54"/>
                </a:spcBef>
                <a:buChar char="•"/>
                <a:tabLst>
                  <a:tab pos="174473" algn="l"/>
                </a:tabLst>
              </a:pPr>
              <a:r>
                <a:rPr sz="861">
                  <a:solidFill>
                    <a:srgbClr val="646363"/>
                  </a:solidFill>
                  <a:latin typeface="Calibri"/>
                  <a:cs typeface="Calibri"/>
                </a:rPr>
                <a:t>Online</a:t>
              </a:r>
              <a:r>
                <a:rPr sz="861" spc="14">
                  <a:solidFill>
                    <a:srgbClr val="646363"/>
                  </a:solidFill>
                  <a:latin typeface="Calibri"/>
                  <a:cs typeface="Calibri"/>
                </a:rPr>
                <a:t> </a:t>
              </a:r>
              <a:r>
                <a:rPr sz="861">
                  <a:solidFill>
                    <a:srgbClr val="646363"/>
                  </a:solidFill>
                  <a:latin typeface="Calibri"/>
                  <a:cs typeface="Calibri"/>
                </a:rPr>
                <a:t>(z.B.</a:t>
              </a:r>
              <a:r>
                <a:rPr sz="861" spc="18">
                  <a:solidFill>
                    <a:srgbClr val="646363"/>
                  </a:solidFill>
                  <a:latin typeface="Calibri"/>
                  <a:cs typeface="Calibri"/>
                </a:rPr>
                <a:t> </a:t>
              </a:r>
              <a:r>
                <a:rPr sz="861" spc="-9">
                  <a:solidFill>
                    <a:srgbClr val="646363"/>
                  </a:solidFill>
                  <a:latin typeface="Calibri"/>
                  <a:cs typeface="Calibri"/>
                </a:rPr>
                <a:t>mitreden!</a:t>
              </a:r>
              <a:r>
                <a:rPr sz="861" spc="18">
                  <a:solidFill>
                    <a:srgbClr val="646363"/>
                  </a:solidFill>
                  <a:latin typeface="Calibri"/>
                  <a:cs typeface="Calibri"/>
                </a:rPr>
                <a:t> </a:t>
              </a:r>
              <a:r>
                <a:rPr sz="861">
                  <a:solidFill>
                    <a:srgbClr val="646363"/>
                  </a:solidFill>
                  <a:latin typeface="Calibri"/>
                  <a:cs typeface="Calibri"/>
                </a:rPr>
                <a:t>Online-</a:t>
              </a:r>
              <a:r>
                <a:rPr sz="861" spc="-9">
                  <a:solidFill>
                    <a:srgbClr val="646363"/>
                  </a:solidFill>
                  <a:latin typeface="Calibri"/>
                  <a:cs typeface="Calibri"/>
                </a:rPr>
                <a:t>Forum)</a:t>
              </a:r>
              <a:endParaRPr sz="861">
                <a:latin typeface="Calibri"/>
                <a:cs typeface="Calibri"/>
              </a:endParaRPr>
            </a:p>
            <a:p>
              <a:pPr marL="174473" indent="-162956">
                <a:spcBef>
                  <a:spcPts val="54"/>
                </a:spcBef>
                <a:buChar char="•"/>
                <a:tabLst>
                  <a:tab pos="174473" algn="l"/>
                </a:tabLst>
              </a:pPr>
              <a:r>
                <a:rPr sz="861" spc="-9">
                  <a:solidFill>
                    <a:srgbClr val="646363"/>
                  </a:solidFill>
                  <a:latin typeface="Calibri"/>
                  <a:cs typeface="Calibri"/>
                </a:rPr>
                <a:t>Präsenzveranstaltungen</a:t>
              </a:r>
              <a:endParaRPr sz="861">
                <a:latin typeface="Calibri"/>
                <a:cs typeface="Calibri"/>
              </a:endParaRPr>
            </a:p>
          </p:txBody>
        </p:sp>
        <p:sp>
          <p:nvSpPr>
            <p:cNvPr id="17" name="object 17"/>
            <p:cNvSpPr txBox="1"/>
            <p:nvPr/>
          </p:nvSpPr>
          <p:spPr>
            <a:xfrm>
              <a:off x="2631718" y="2704011"/>
              <a:ext cx="1349143" cy="284139"/>
            </a:xfrm>
            <a:prstGeom prst="rect">
              <a:avLst/>
            </a:prstGeom>
          </p:spPr>
          <p:txBody>
            <a:bodyPr vert="horz" wrap="square" lIns="0" tIns="11516" rIns="0" bIns="0" rtlCol="0">
              <a:spAutoFit/>
            </a:bodyPr>
            <a:lstStyle/>
            <a:p>
              <a:pPr marL="11516" marR="4607">
                <a:lnSpc>
                  <a:spcPct val="105300"/>
                </a:lnSpc>
                <a:spcBef>
                  <a:spcPts val="91"/>
                </a:spcBef>
              </a:pPr>
              <a:r>
                <a:rPr sz="861" b="1">
                  <a:solidFill>
                    <a:srgbClr val="646363"/>
                  </a:solidFill>
                  <a:latin typeface="Calibri"/>
                  <a:cs typeface="Calibri"/>
                </a:rPr>
                <a:t>Vermittlung</a:t>
              </a:r>
              <a:r>
                <a:rPr sz="861" b="1" spc="14">
                  <a:solidFill>
                    <a:srgbClr val="646363"/>
                  </a:solidFill>
                  <a:latin typeface="Calibri"/>
                  <a:cs typeface="Calibri"/>
                </a:rPr>
                <a:t> </a:t>
              </a:r>
              <a:r>
                <a:rPr sz="861" b="1">
                  <a:solidFill>
                    <a:srgbClr val="646363"/>
                  </a:solidFill>
                  <a:latin typeface="Calibri"/>
                  <a:cs typeface="Calibri"/>
                </a:rPr>
                <a:t>von</a:t>
              </a:r>
              <a:r>
                <a:rPr sz="861" b="1" spc="14">
                  <a:solidFill>
                    <a:srgbClr val="646363"/>
                  </a:solidFill>
                  <a:latin typeface="Calibri"/>
                  <a:cs typeface="Calibri"/>
                </a:rPr>
                <a:t> </a:t>
              </a:r>
              <a:r>
                <a:rPr sz="861" b="1" spc="-9">
                  <a:solidFill>
                    <a:srgbClr val="646363"/>
                  </a:solidFill>
                  <a:latin typeface="Calibri"/>
                  <a:cs typeface="Calibri"/>
                </a:rPr>
                <a:t>Supervision oder</a:t>
              </a:r>
              <a:r>
                <a:rPr sz="861" b="1" spc="5">
                  <a:solidFill>
                    <a:srgbClr val="646363"/>
                  </a:solidFill>
                  <a:latin typeface="Calibri"/>
                  <a:cs typeface="Calibri"/>
                </a:rPr>
                <a:t> </a:t>
              </a:r>
              <a:r>
                <a:rPr sz="861" b="1">
                  <a:solidFill>
                    <a:srgbClr val="646363"/>
                  </a:solidFill>
                  <a:latin typeface="Calibri"/>
                  <a:cs typeface="Calibri"/>
                </a:rPr>
                <a:t>geistlicher</a:t>
              </a:r>
              <a:r>
                <a:rPr sz="861" b="1" spc="9">
                  <a:solidFill>
                    <a:srgbClr val="646363"/>
                  </a:solidFill>
                  <a:latin typeface="Calibri"/>
                  <a:cs typeface="Calibri"/>
                </a:rPr>
                <a:t> </a:t>
              </a:r>
              <a:r>
                <a:rPr sz="861" b="1" spc="-9">
                  <a:solidFill>
                    <a:srgbClr val="646363"/>
                  </a:solidFill>
                  <a:latin typeface="Calibri"/>
                  <a:cs typeface="Calibri"/>
                </a:rPr>
                <a:t>Begleitung</a:t>
              </a:r>
              <a:endParaRPr sz="861">
                <a:latin typeface="Calibri"/>
                <a:cs typeface="Calibri"/>
              </a:endParaRPr>
            </a:p>
          </p:txBody>
        </p:sp>
        <p:sp>
          <p:nvSpPr>
            <p:cNvPr id="18" name="object 18"/>
            <p:cNvSpPr txBox="1"/>
            <p:nvPr/>
          </p:nvSpPr>
          <p:spPr>
            <a:xfrm>
              <a:off x="2631718" y="3118600"/>
              <a:ext cx="1734366" cy="423216"/>
            </a:xfrm>
            <a:prstGeom prst="rect">
              <a:avLst/>
            </a:prstGeom>
          </p:spPr>
          <p:txBody>
            <a:bodyPr vert="horz" wrap="square" lIns="0" tIns="11516" rIns="0" bIns="0" rtlCol="0">
              <a:spAutoFit/>
            </a:bodyPr>
            <a:lstStyle/>
            <a:p>
              <a:pPr marL="11516" marR="4607">
                <a:lnSpc>
                  <a:spcPct val="105300"/>
                </a:lnSpc>
                <a:spcBef>
                  <a:spcPts val="91"/>
                </a:spcBef>
              </a:pPr>
              <a:r>
                <a:rPr sz="861" b="1" dirty="0" err="1">
                  <a:solidFill>
                    <a:srgbClr val="646363"/>
                  </a:solidFill>
                  <a:latin typeface="Calibri"/>
                  <a:cs typeface="Calibri"/>
                </a:rPr>
                <a:t>Vermittlung</a:t>
              </a:r>
              <a:r>
                <a:rPr sz="861" b="1" spc="14" dirty="0">
                  <a:solidFill>
                    <a:srgbClr val="646363"/>
                  </a:solidFill>
                  <a:latin typeface="Calibri"/>
                  <a:cs typeface="Calibri"/>
                </a:rPr>
                <a:t> </a:t>
              </a:r>
              <a:r>
                <a:rPr sz="861" b="1" dirty="0">
                  <a:solidFill>
                    <a:srgbClr val="646363"/>
                  </a:solidFill>
                  <a:latin typeface="Calibri"/>
                  <a:cs typeface="Calibri"/>
                </a:rPr>
                <a:t>von</a:t>
              </a:r>
              <a:r>
                <a:rPr sz="861" b="1" spc="14" dirty="0">
                  <a:solidFill>
                    <a:srgbClr val="646363"/>
                  </a:solidFill>
                  <a:latin typeface="Calibri"/>
                  <a:cs typeface="Calibri"/>
                </a:rPr>
                <a:t> </a:t>
              </a:r>
              <a:r>
                <a:rPr sz="861" b="1" spc="-9" dirty="0">
                  <a:solidFill>
                    <a:srgbClr val="646363"/>
                  </a:solidFill>
                  <a:latin typeface="Calibri"/>
                  <a:cs typeface="Calibri"/>
                </a:rPr>
                <a:t>Moderator*</a:t>
              </a:r>
              <a:r>
                <a:rPr sz="861" b="1" spc="-9" dirty="0" err="1">
                  <a:solidFill>
                    <a:srgbClr val="646363"/>
                  </a:solidFill>
                  <a:latin typeface="Calibri"/>
                  <a:cs typeface="Calibri"/>
                </a:rPr>
                <a:t>innen</a:t>
              </a:r>
              <a:r>
                <a:rPr sz="861" b="1" spc="-9" dirty="0">
                  <a:solidFill>
                    <a:srgbClr val="646363"/>
                  </a:solidFill>
                  <a:latin typeface="Calibri"/>
                  <a:cs typeface="Calibri"/>
                </a:rPr>
                <a:t> </a:t>
              </a:r>
              <a:r>
                <a:rPr sz="861" b="1" dirty="0">
                  <a:solidFill>
                    <a:srgbClr val="646363"/>
                  </a:solidFill>
                  <a:latin typeface="Calibri"/>
                  <a:cs typeface="Calibri"/>
                </a:rPr>
                <a:t>und</a:t>
              </a:r>
              <a:r>
                <a:rPr sz="861" b="1" spc="27" dirty="0">
                  <a:solidFill>
                    <a:srgbClr val="646363"/>
                  </a:solidFill>
                  <a:latin typeface="Calibri"/>
                  <a:cs typeface="Calibri"/>
                </a:rPr>
                <a:t> </a:t>
              </a:r>
              <a:r>
                <a:rPr sz="861" b="1" dirty="0">
                  <a:solidFill>
                    <a:srgbClr val="646363"/>
                  </a:solidFill>
                  <a:latin typeface="Calibri"/>
                  <a:cs typeface="Calibri"/>
                </a:rPr>
                <a:t>Referent*</a:t>
              </a:r>
              <a:r>
                <a:rPr sz="861" b="1" dirty="0" err="1">
                  <a:solidFill>
                    <a:srgbClr val="646363"/>
                  </a:solidFill>
                  <a:latin typeface="Calibri"/>
                  <a:cs typeface="Calibri"/>
                </a:rPr>
                <a:t>innen</a:t>
              </a:r>
              <a:r>
                <a:rPr sz="861" b="1" spc="36" dirty="0">
                  <a:solidFill>
                    <a:srgbClr val="646363"/>
                  </a:solidFill>
                  <a:latin typeface="Calibri"/>
                  <a:cs typeface="Calibri"/>
                </a:rPr>
                <a:t> </a:t>
              </a:r>
              <a:r>
                <a:rPr sz="861" dirty="0">
                  <a:solidFill>
                    <a:srgbClr val="646363"/>
                  </a:solidFill>
                  <a:latin typeface="Calibri"/>
                  <a:cs typeface="Calibri"/>
                </a:rPr>
                <a:t>(</a:t>
              </a:r>
              <a:r>
                <a:rPr sz="861" dirty="0" err="1">
                  <a:solidFill>
                    <a:srgbClr val="646363"/>
                  </a:solidFill>
                  <a:latin typeface="Calibri"/>
                  <a:cs typeface="Calibri"/>
                </a:rPr>
                <a:t>z.B.</a:t>
              </a:r>
              <a:r>
                <a:rPr sz="861" spc="36" dirty="0">
                  <a:solidFill>
                    <a:srgbClr val="646363"/>
                  </a:solidFill>
                  <a:latin typeface="Calibri"/>
                  <a:cs typeface="Calibri"/>
                </a:rPr>
                <a:t> </a:t>
              </a:r>
              <a:r>
                <a:rPr sz="861" dirty="0">
                  <a:solidFill>
                    <a:srgbClr val="646363"/>
                  </a:solidFill>
                  <a:latin typeface="Calibri"/>
                  <a:cs typeface="Calibri"/>
                </a:rPr>
                <a:t>für</a:t>
              </a:r>
              <a:r>
                <a:rPr sz="861" spc="32" dirty="0">
                  <a:solidFill>
                    <a:srgbClr val="646363"/>
                  </a:solidFill>
                  <a:latin typeface="Calibri"/>
                  <a:cs typeface="Calibri"/>
                </a:rPr>
                <a:t> </a:t>
              </a:r>
              <a:r>
                <a:rPr sz="861" spc="-9" dirty="0">
                  <a:solidFill>
                    <a:srgbClr val="646363"/>
                  </a:solidFill>
                  <a:latin typeface="Calibri"/>
                  <a:cs typeface="Calibri"/>
                </a:rPr>
                <a:t>Klausur- </a:t>
              </a:r>
              <a:r>
                <a:rPr sz="861" dirty="0" err="1">
                  <a:solidFill>
                    <a:srgbClr val="646363"/>
                  </a:solidFill>
                  <a:latin typeface="Calibri"/>
                  <a:cs typeface="Calibri"/>
                </a:rPr>
                <a:t>tage</a:t>
              </a:r>
              <a:r>
                <a:rPr sz="861" spc="-5" dirty="0">
                  <a:solidFill>
                    <a:srgbClr val="646363"/>
                  </a:solidFill>
                  <a:latin typeface="Calibri"/>
                  <a:cs typeface="Calibri"/>
                </a:rPr>
                <a:t> </a:t>
              </a:r>
              <a:r>
                <a:rPr sz="861" spc="-18" dirty="0">
                  <a:solidFill>
                    <a:srgbClr val="646363"/>
                  </a:solidFill>
                  <a:latin typeface="Calibri"/>
                  <a:cs typeface="Calibri"/>
                </a:rPr>
                <a:t>oder</a:t>
              </a:r>
              <a:r>
                <a:rPr sz="861" spc="-5" dirty="0">
                  <a:solidFill>
                    <a:srgbClr val="646363"/>
                  </a:solidFill>
                  <a:latin typeface="Calibri"/>
                  <a:cs typeface="Calibri"/>
                </a:rPr>
                <a:t> </a:t>
              </a:r>
              <a:r>
                <a:rPr sz="861" spc="-9" dirty="0" err="1">
                  <a:solidFill>
                    <a:srgbClr val="646363"/>
                  </a:solidFill>
                  <a:latin typeface="Calibri"/>
                  <a:cs typeface="Calibri"/>
                </a:rPr>
                <a:t>Zukunftswerkstätten</a:t>
              </a:r>
              <a:r>
                <a:rPr sz="861" spc="-9" dirty="0">
                  <a:solidFill>
                    <a:srgbClr val="646363"/>
                  </a:solidFill>
                  <a:latin typeface="Calibri"/>
                  <a:cs typeface="Calibri"/>
                </a:rPr>
                <a:t>)</a:t>
              </a:r>
              <a:endParaRPr sz="861" dirty="0">
                <a:latin typeface="Calibri"/>
                <a:cs typeface="Calibri"/>
              </a:endParaRPr>
            </a:p>
          </p:txBody>
        </p:sp>
        <p:sp>
          <p:nvSpPr>
            <p:cNvPr id="19" name="object 19"/>
            <p:cNvSpPr txBox="1"/>
            <p:nvPr/>
          </p:nvSpPr>
          <p:spPr>
            <a:xfrm>
              <a:off x="2631718" y="3671387"/>
              <a:ext cx="1656054" cy="284139"/>
            </a:xfrm>
            <a:prstGeom prst="rect">
              <a:avLst/>
            </a:prstGeom>
          </p:spPr>
          <p:txBody>
            <a:bodyPr vert="horz" wrap="square" lIns="0" tIns="11516" rIns="0" bIns="0" rtlCol="0">
              <a:spAutoFit/>
            </a:bodyPr>
            <a:lstStyle/>
            <a:p>
              <a:pPr marL="11516" marR="4607">
                <a:lnSpc>
                  <a:spcPct val="105300"/>
                </a:lnSpc>
                <a:spcBef>
                  <a:spcPts val="91"/>
                </a:spcBef>
              </a:pPr>
              <a:r>
                <a:rPr sz="861" b="1">
                  <a:solidFill>
                    <a:srgbClr val="646363"/>
                  </a:solidFill>
                  <a:latin typeface="Calibri"/>
                  <a:cs typeface="Calibri"/>
                </a:rPr>
                <a:t>Unterstützung</a:t>
              </a:r>
              <a:r>
                <a:rPr sz="861" b="1" spc="9">
                  <a:solidFill>
                    <a:srgbClr val="646363"/>
                  </a:solidFill>
                  <a:latin typeface="Calibri"/>
                  <a:cs typeface="Calibri"/>
                </a:rPr>
                <a:t> </a:t>
              </a:r>
              <a:r>
                <a:rPr sz="861" b="1">
                  <a:solidFill>
                    <a:srgbClr val="646363"/>
                  </a:solidFill>
                  <a:latin typeface="Calibri"/>
                  <a:cs typeface="Calibri"/>
                </a:rPr>
                <a:t>bei</a:t>
              </a:r>
              <a:r>
                <a:rPr sz="861" b="1" spc="9">
                  <a:solidFill>
                    <a:srgbClr val="646363"/>
                  </a:solidFill>
                  <a:latin typeface="Calibri"/>
                  <a:cs typeface="Calibri"/>
                </a:rPr>
                <a:t> </a:t>
              </a:r>
              <a:r>
                <a:rPr sz="861" b="1">
                  <a:solidFill>
                    <a:srgbClr val="646363"/>
                  </a:solidFill>
                  <a:latin typeface="Calibri"/>
                  <a:cs typeface="Calibri"/>
                </a:rPr>
                <a:t>der</a:t>
              </a:r>
              <a:r>
                <a:rPr sz="861" b="1" spc="9">
                  <a:solidFill>
                    <a:srgbClr val="646363"/>
                  </a:solidFill>
                  <a:latin typeface="Calibri"/>
                  <a:cs typeface="Calibri"/>
                </a:rPr>
                <a:t> </a:t>
              </a:r>
              <a:r>
                <a:rPr sz="861" b="1" spc="-9">
                  <a:solidFill>
                    <a:srgbClr val="646363"/>
                  </a:solidFill>
                  <a:latin typeface="Calibri"/>
                  <a:cs typeface="Calibri"/>
                </a:rPr>
                <a:t>Vorbereitung </a:t>
              </a:r>
              <a:r>
                <a:rPr sz="861" b="1">
                  <a:solidFill>
                    <a:srgbClr val="646363"/>
                  </a:solidFill>
                  <a:latin typeface="Calibri"/>
                  <a:cs typeface="Calibri"/>
                </a:rPr>
                <a:t>und</a:t>
              </a:r>
              <a:r>
                <a:rPr sz="861" b="1" spc="9">
                  <a:solidFill>
                    <a:srgbClr val="646363"/>
                  </a:solidFill>
                  <a:latin typeface="Calibri"/>
                  <a:cs typeface="Calibri"/>
                </a:rPr>
                <a:t> </a:t>
              </a:r>
              <a:r>
                <a:rPr sz="861" b="1">
                  <a:solidFill>
                    <a:srgbClr val="646363"/>
                  </a:solidFill>
                  <a:latin typeface="Calibri"/>
                  <a:cs typeface="Calibri"/>
                </a:rPr>
                <a:t>Durchführung</a:t>
              </a:r>
              <a:r>
                <a:rPr sz="861" b="1" spc="9">
                  <a:solidFill>
                    <a:srgbClr val="646363"/>
                  </a:solidFill>
                  <a:latin typeface="Calibri"/>
                  <a:cs typeface="Calibri"/>
                </a:rPr>
                <a:t> </a:t>
              </a:r>
              <a:r>
                <a:rPr sz="861" b="1">
                  <a:solidFill>
                    <a:srgbClr val="646363"/>
                  </a:solidFill>
                  <a:latin typeface="Calibri"/>
                  <a:cs typeface="Calibri"/>
                </a:rPr>
                <a:t>von</a:t>
              </a:r>
              <a:r>
                <a:rPr sz="861" b="1" spc="14">
                  <a:solidFill>
                    <a:srgbClr val="646363"/>
                  </a:solidFill>
                  <a:latin typeface="Calibri"/>
                  <a:cs typeface="Calibri"/>
                </a:rPr>
                <a:t> </a:t>
              </a:r>
              <a:r>
                <a:rPr sz="861" b="1" spc="-9">
                  <a:solidFill>
                    <a:srgbClr val="646363"/>
                  </a:solidFill>
                  <a:latin typeface="Calibri"/>
                  <a:cs typeface="Calibri"/>
                </a:rPr>
                <a:t>Wahlen</a:t>
              </a:r>
              <a:endParaRPr sz="861">
                <a:latin typeface="Calibri"/>
                <a:cs typeface="Calibri"/>
              </a:endParaRPr>
            </a:p>
          </p:txBody>
        </p:sp>
        <p:sp>
          <p:nvSpPr>
            <p:cNvPr id="20" name="object 20"/>
            <p:cNvSpPr txBox="1"/>
            <p:nvPr/>
          </p:nvSpPr>
          <p:spPr>
            <a:xfrm>
              <a:off x="2631718" y="4702067"/>
              <a:ext cx="2483506" cy="976120"/>
            </a:xfrm>
            <a:prstGeom prst="rect">
              <a:avLst/>
            </a:prstGeom>
          </p:spPr>
          <p:txBody>
            <a:bodyPr vert="horz" wrap="square" lIns="0" tIns="70250" rIns="0" bIns="0" rtlCol="0">
              <a:spAutoFit/>
            </a:bodyPr>
            <a:lstStyle/>
            <a:p>
              <a:pPr marL="11516">
                <a:spcBef>
                  <a:spcPts val="553"/>
                </a:spcBef>
              </a:pPr>
              <a:r>
                <a:rPr sz="861" spc="-9">
                  <a:solidFill>
                    <a:srgbClr val="C51A1B"/>
                  </a:solidFill>
                  <a:latin typeface="Calibri"/>
                  <a:cs typeface="Calibri"/>
                </a:rPr>
                <a:t>Ihre</a:t>
              </a:r>
              <a:r>
                <a:rPr sz="861" spc="-18">
                  <a:solidFill>
                    <a:srgbClr val="C51A1B"/>
                  </a:solidFill>
                  <a:latin typeface="Calibri"/>
                  <a:cs typeface="Calibri"/>
                </a:rPr>
                <a:t> </a:t>
              </a:r>
              <a:r>
                <a:rPr sz="861" spc="-9">
                  <a:solidFill>
                    <a:srgbClr val="C51A1B"/>
                  </a:solidFill>
                  <a:latin typeface="Calibri"/>
                  <a:cs typeface="Calibri"/>
                </a:rPr>
                <a:t>Ansprechpartner*innen:</a:t>
              </a:r>
              <a:endParaRPr sz="861">
                <a:latin typeface="Calibri"/>
                <a:cs typeface="Calibri"/>
              </a:endParaRPr>
            </a:p>
            <a:p>
              <a:pPr marL="11516" marR="4607">
                <a:lnSpc>
                  <a:spcPct val="109600"/>
                </a:lnSpc>
                <a:spcBef>
                  <a:spcPts val="363"/>
                </a:spcBef>
              </a:pPr>
              <a:r>
                <a:rPr sz="861" b="1">
                  <a:solidFill>
                    <a:srgbClr val="C51A1B"/>
                  </a:solidFill>
                  <a:latin typeface="Calibri"/>
                  <a:cs typeface="Calibri"/>
                </a:rPr>
                <a:t>Das</a:t>
              </a:r>
              <a:r>
                <a:rPr sz="861" b="1" spc="-9">
                  <a:solidFill>
                    <a:srgbClr val="C51A1B"/>
                  </a:solidFill>
                  <a:latin typeface="Calibri"/>
                  <a:cs typeface="Calibri"/>
                </a:rPr>
                <a:t> </a:t>
              </a:r>
              <a:r>
                <a:rPr sz="861" b="1">
                  <a:solidFill>
                    <a:srgbClr val="C51A1B"/>
                  </a:solidFill>
                  <a:latin typeface="Calibri"/>
                  <a:cs typeface="Calibri"/>
                </a:rPr>
                <a:t>Team</a:t>
              </a:r>
              <a:r>
                <a:rPr sz="861" b="1" spc="-9">
                  <a:solidFill>
                    <a:srgbClr val="C51A1B"/>
                  </a:solidFill>
                  <a:latin typeface="Calibri"/>
                  <a:cs typeface="Calibri"/>
                </a:rPr>
                <a:t> </a:t>
              </a:r>
              <a:r>
                <a:rPr sz="861" b="1">
                  <a:solidFill>
                    <a:srgbClr val="C51A1B"/>
                  </a:solidFill>
                  <a:latin typeface="Calibri"/>
                  <a:cs typeface="Calibri"/>
                </a:rPr>
                <a:t>des</a:t>
              </a:r>
              <a:r>
                <a:rPr sz="861" b="1" spc="-9">
                  <a:solidFill>
                    <a:srgbClr val="C51A1B"/>
                  </a:solidFill>
                  <a:latin typeface="Calibri"/>
                  <a:cs typeface="Calibri"/>
                </a:rPr>
                <a:t> </a:t>
              </a:r>
              <a:r>
                <a:rPr sz="861" b="1">
                  <a:solidFill>
                    <a:srgbClr val="C51A1B"/>
                  </a:solidFill>
                  <a:latin typeface="Calibri"/>
                  <a:cs typeface="Calibri"/>
                </a:rPr>
                <a:t>Arbeitsbereichs</a:t>
              </a:r>
              <a:r>
                <a:rPr sz="861" b="1" spc="-9">
                  <a:solidFill>
                    <a:srgbClr val="C51A1B"/>
                  </a:solidFill>
                  <a:latin typeface="Calibri"/>
                  <a:cs typeface="Calibri"/>
                </a:rPr>
                <a:t> Ehrenamtsentwicklung </a:t>
              </a:r>
              <a:r>
                <a:rPr sz="861" b="1">
                  <a:solidFill>
                    <a:srgbClr val="C51A1B"/>
                  </a:solidFill>
                  <a:latin typeface="Calibri"/>
                  <a:cs typeface="Calibri"/>
                </a:rPr>
                <a:t>Bischöfliches</a:t>
              </a:r>
              <a:r>
                <a:rPr sz="861" b="1" spc="77">
                  <a:solidFill>
                    <a:srgbClr val="C51A1B"/>
                  </a:solidFill>
                  <a:latin typeface="Calibri"/>
                  <a:cs typeface="Calibri"/>
                </a:rPr>
                <a:t> </a:t>
              </a:r>
              <a:r>
                <a:rPr sz="861" b="1">
                  <a:solidFill>
                    <a:srgbClr val="C51A1B"/>
                  </a:solidFill>
                  <a:latin typeface="Calibri"/>
                  <a:cs typeface="Calibri"/>
                </a:rPr>
                <a:t>Generalvikariat</a:t>
              </a:r>
              <a:r>
                <a:rPr sz="861" b="1" spc="77">
                  <a:solidFill>
                    <a:srgbClr val="C51A1B"/>
                  </a:solidFill>
                  <a:latin typeface="Calibri"/>
                  <a:cs typeface="Calibri"/>
                </a:rPr>
                <a:t> </a:t>
              </a:r>
              <a:r>
                <a:rPr sz="861" b="1" spc="-9">
                  <a:solidFill>
                    <a:srgbClr val="C51A1B"/>
                  </a:solidFill>
                  <a:latin typeface="Calibri"/>
                  <a:cs typeface="Calibri"/>
                </a:rPr>
                <a:t>Trier</a:t>
              </a:r>
              <a:endParaRPr sz="861">
                <a:latin typeface="Calibri"/>
                <a:cs typeface="Calibri"/>
              </a:endParaRPr>
            </a:p>
            <a:p>
              <a:pPr marL="11516" marR="287333">
                <a:lnSpc>
                  <a:spcPct val="109600"/>
                </a:lnSpc>
              </a:pPr>
              <a:r>
                <a:rPr sz="861">
                  <a:solidFill>
                    <a:srgbClr val="C51A1B"/>
                  </a:solidFill>
                  <a:latin typeface="Calibri"/>
                  <a:cs typeface="Calibri"/>
                </a:rPr>
                <a:t>Referent</a:t>
              </a:r>
              <a:r>
                <a:rPr sz="861" spc="18">
                  <a:solidFill>
                    <a:srgbClr val="C51A1B"/>
                  </a:solidFill>
                  <a:latin typeface="Calibri"/>
                  <a:cs typeface="Calibri"/>
                </a:rPr>
                <a:t> </a:t>
              </a:r>
              <a:r>
                <a:rPr sz="861">
                  <a:solidFill>
                    <a:srgbClr val="C51A1B"/>
                  </a:solidFill>
                  <a:latin typeface="Calibri"/>
                  <a:cs typeface="Calibri"/>
                </a:rPr>
                <a:t>für</a:t>
              </a:r>
              <a:r>
                <a:rPr sz="861" spc="18">
                  <a:solidFill>
                    <a:srgbClr val="C51A1B"/>
                  </a:solidFill>
                  <a:latin typeface="Calibri"/>
                  <a:cs typeface="Calibri"/>
                </a:rPr>
                <a:t> </a:t>
              </a:r>
              <a:r>
                <a:rPr sz="861">
                  <a:solidFill>
                    <a:srgbClr val="C51A1B"/>
                  </a:solidFill>
                  <a:latin typeface="Calibri"/>
                  <a:cs typeface="Calibri"/>
                </a:rPr>
                <a:t>kirchliche</a:t>
              </a:r>
              <a:r>
                <a:rPr sz="861" spc="14">
                  <a:solidFill>
                    <a:srgbClr val="C51A1B"/>
                  </a:solidFill>
                  <a:latin typeface="Calibri"/>
                  <a:cs typeface="Calibri"/>
                </a:rPr>
                <a:t> </a:t>
              </a:r>
              <a:r>
                <a:rPr sz="861">
                  <a:solidFill>
                    <a:srgbClr val="C51A1B"/>
                  </a:solidFill>
                  <a:latin typeface="Calibri"/>
                  <a:cs typeface="Calibri"/>
                </a:rPr>
                <a:t>Räte:</a:t>
              </a:r>
              <a:r>
                <a:rPr sz="861" spc="18">
                  <a:solidFill>
                    <a:srgbClr val="C51A1B"/>
                  </a:solidFill>
                  <a:latin typeface="Calibri"/>
                  <a:cs typeface="Calibri"/>
                </a:rPr>
                <a:t> </a:t>
              </a:r>
              <a:r>
                <a:rPr sz="861" spc="-36">
                  <a:solidFill>
                    <a:srgbClr val="C51A1B"/>
                  </a:solidFill>
                  <a:latin typeface="Calibri"/>
                  <a:cs typeface="Calibri"/>
                </a:rPr>
                <a:t>Dr.</a:t>
              </a:r>
              <a:r>
                <a:rPr sz="861" spc="18">
                  <a:solidFill>
                    <a:srgbClr val="C51A1B"/>
                  </a:solidFill>
                  <a:latin typeface="Calibri"/>
                  <a:cs typeface="Calibri"/>
                </a:rPr>
                <a:t> </a:t>
              </a:r>
              <a:r>
                <a:rPr sz="861">
                  <a:solidFill>
                    <a:srgbClr val="C51A1B"/>
                  </a:solidFill>
                  <a:latin typeface="Calibri"/>
                  <a:cs typeface="Calibri"/>
                </a:rPr>
                <a:t>Thomas</a:t>
              </a:r>
              <a:r>
                <a:rPr sz="861" spc="18">
                  <a:solidFill>
                    <a:srgbClr val="C51A1B"/>
                  </a:solidFill>
                  <a:latin typeface="Calibri"/>
                  <a:cs typeface="Calibri"/>
                </a:rPr>
                <a:t> </a:t>
              </a:r>
              <a:r>
                <a:rPr sz="861" spc="-50">
                  <a:solidFill>
                    <a:srgbClr val="C51A1B"/>
                  </a:solidFill>
                  <a:latin typeface="Calibri"/>
                  <a:cs typeface="Calibri"/>
                </a:rPr>
                <a:t>P.</a:t>
              </a:r>
              <a:r>
                <a:rPr sz="861" spc="18">
                  <a:solidFill>
                    <a:srgbClr val="C51A1B"/>
                  </a:solidFill>
                  <a:latin typeface="Calibri"/>
                  <a:cs typeface="Calibri"/>
                </a:rPr>
                <a:t> </a:t>
              </a:r>
              <a:r>
                <a:rPr sz="861" spc="-9">
                  <a:solidFill>
                    <a:srgbClr val="C51A1B"/>
                  </a:solidFill>
                  <a:latin typeface="Calibri"/>
                  <a:cs typeface="Calibri"/>
                </a:rPr>
                <a:t>Fößel </a:t>
              </a:r>
              <a:r>
                <a:rPr sz="861">
                  <a:solidFill>
                    <a:srgbClr val="C51A1B"/>
                  </a:solidFill>
                  <a:latin typeface="Calibri"/>
                  <a:cs typeface="Calibri"/>
                </a:rPr>
                <a:t>Sachbearbeitung:</a:t>
              </a:r>
              <a:r>
                <a:rPr sz="861" spc="5">
                  <a:solidFill>
                    <a:srgbClr val="C51A1B"/>
                  </a:solidFill>
                  <a:latin typeface="Calibri"/>
                  <a:cs typeface="Calibri"/>
                </a:rPr>
                <a:t> </a:t>
              </a:r>
              <a:r>
                <a:rPr sz="861" spc="-9">
                  <a:solidFill>
                    <a:srgbClr val="C51A1B"/>
                  </a:solidFill>
                  <a:latin typeface="Calibri"/>
                  <a:cs typeface="Calibri"/>
                </a:rPr>
                <a:t>Melanie</a:t>
              </a:r>
              <a:r>
                <a:rPr sz="861" spc="9">
                  <a:solidFill>
                    <a:srgbClr val="C51A1B"/>
                  </a:solidFill>
                  <a:latin typeface="Calibri"/>
                  <a:cs typeface="Calibri"/>
                </a:rPr>
                <a:t> </a:t>
              </a:r>
              <a:r>
                <a:rPr sz="861" spc="-9">
                  <a:solidFill>
                    <a:srgbClr val="C51A1B"/>
                  </a:solidFill>
                  <a:latin typeface="Calibri"/>
                  <a:cs typeface="Calibri"/>
                </a:rPr>
                <a:t>Engelmann </a:t>
              </a:r>
              <a:r>
                <a:rPr sz="861" spc="-9">
                  <a:solidFill>
                    <a:srgbClr val="C51A1B"/>
                  </a:solidFill>
                  <a:latin typeface="Calibri"/>
                  <a:cs typeface="Calibri"/>
                  <a:hlinkClick r:id="rId5"/>
                </a:rPr>
                <a:t>raete@bistum-</a:t>
              </a:r>
              <a:r>
                <a:rPr sz="861">
                  <a:solidFill>
                    <a:srgbClr val="C51A1B"/>
                  </a:solidFill>
                  <a:latin typeface="Calibri"/>
                  <a:cs typeface="Calibri"/>
                  <a:hlinkClick r:id="rId5"/>
                </a:rPr>
                <a:t>trier.de</a:t>
              </a:r>
              <a:r>
                <a:rPr sz="861" spc="136">
                  <a:solidFill>
                    <a:srgbClr val="C51A1B"/>
                  </a:solidFill>
                  <a:latin typeface="Calibri"/>
                  <a:cs typeface="Calibri"/>
                </a:rPr>
                <a:t> </a:t>
              </a:r>
              <a:r>
                <a:rPr sz="861" spc="-59">
                  <a:solidFill>
                    <a:srgbClr val="C51A1B"/>
                  </a:solidFill>
                  <a:latin typeface="Calibri"/>
                  <a:cs typeface="Calibri"/>
                </a:rPr>
                <a:t>|</a:t>
              </a:r>
              <a:r>
                <a:rPr sz="861" spc="154">
                  <a:solidFill>
                    <a:srgbClr val="C51A1B"/>
                  </a:solidFill>
                  <a:latin typeface="Calibri"/>
                  <a:cs typeface="Calibri"/>
                </a:rPr>
                <a:t> </a:t>
              </a:r>
              <a:r>
                <a:rPr sz="861" spc="-9">
                  <a:solidFill>
                    <a:srgbClr val="C51A1B"/>
                  </a:solidFill>
                  <a:latin typeface="Calibri"/>
                  <a:cs typeface="Calibri"/>
                </a:rPr>
                <a:t>Telefon</a:t>
              </a:r>
              <a:r>
                <a:rPr sz="861" spc="-18">
                  <a:solidFill>
                    <a:srgbClr val="C51A1B"/>
                  </a:solidFill>
                  <a:latin typeface="Calibri"/>
                  <a:cs typeface="Calibri"/>
                </a:rPr>
                <a:t> </a:t>
              </a:r>
              <a:r>
                <a:rPr sz="861">
                  <a:solidFill>
                    <a:srgbClr val="C51A1B"/>
                  </a:solidFill>
                  <a:latin typeface="Calibri"/>
                  <a:cs typeface="Calibri"/>
                </a:rPr>
                <a:t>06</a:t>
              </a:r>
              <a:r>
                <a:rPr sz="861" spc="-23">
                  <a:solidFill>
                    <a:srgbClr val="C51A1B"/>
                  </a:solidFill>
                  <a:latin typeface="Calibri"/>
                  <a:cs typeface="Calibri"/>
                </a:rPr>
                <a:t> </a:t>
              </a:r>
              <a:r>
                <a:rPr sz="861" spc="-86">
                  <a:solidFill>
                    <a:srgbClr val="C51A1B"/>
                  </a:solidFill>
                  <a:latin typeface="Calibri"/>
                  <a:cs typeface="Calibri"/>
                </a:rPr>
                <a:t>51</a:t>
              </a:r>
              <a:r>
                <a:rPr sz="861" spc="-14">
                  <a:solidFill>
                    <a:srgbClr val="C51A1B"/>
                  </a:solidFill>
                  <a:latin typeface="Calibri"/>
                  <a:cs typeface="Calibri"/>
                </a:rPr>
                <a:t> </a:t>
              </a:r>
              <a:r>
                <a:rPr sz="861" spc="-185">
                  <a:solidFill>
                    <a:srgbClr val="C51A1B"/>
                  </a:solidFill>
                  <a:latin typeface="Calibri"/>
                  <a:cs typeface="Calibri"/>
                </a:rPr>
                <a:t>|</a:t>
              </a:r>
              <a:r>
                <a:rPr sz="861" spc="-14">
                  <a:solidFill>
                    <a:srgbClr val="C51A1B"/>
                  </a:solidFill>
                  <a:latin typeface="Calibri"/>
                  <a:cs typeface="Calibri"/>
                </a:rPr>
                <a:t> </a:t>
              </a:r>
              <a:r>
                <a:rPr sz="861" spc="-41">
                  <a:solidFill>
                    <a:srgbClr val="C51A1B"/>
                  </a:solidFill>
                  <a:latin typeface="Calibri"/>
                  <a:cs typeface="Calibri"/>
                </a:rPr>
                <a:t>7105-</a:t>
              </a:r>
              <a:r>
                <a:rPr sz="861" spc="-23">
                  <a:solidFill>
                    <a:srgbClr val="C51A1B"/>
                  </a:solidFill>
                  <a:latin typeface="Calibri"/>
                  <a:cs typeface="Calibri"/>
                </a:rPr>
                <a:t>183</a:t>
              </a:r>
              <a:endParaRPr sz="861">
                <a:latin typeface="Calibri"/>
                <a:cs typeface="Calibri"/>
              </a:endParaRPr>
            </a:p>
          </p:txBody>
        </p:sp>
        <p:sp>
          <p:nvSpPr>
            <p:cNvPr id="21" name="object 21"/>
            <p:cNvSpPr txBox="1"/>
            <p:nvPr/>
          </p:nvSpPr>
          <p:spPr>
            <a:xfrm>
              <a:off x="2606027" y="469058"/>
              <a:ext cx="3823436" cy="409699"/>
            </a:xfrm>
            <a:prstGeom prst="rect">
              <a:avLst/>
            </a:prstGeom>
          </p:spPr>
          <p:txBody>
            <a:bodyPr vert="horz" wrap="square" lIns="0" tIns="4607" rIns="0" bIns="0" rtlCol="0">
              <a:spAutoFit/>
            </a:bodyPr>
            <a:lstStyle/>
            <a:p>
              <a:pPr marL="11516" marR="4607">
                <a:lnSpc>
                  <a:spcPct val="103400"/>
                </a:lnSpc>
                <a:spcBef>
                  <a:spcPts val="36"/>
                </a:spcBef>
              </a:pPr>
              <a:r>
                <a:rPr sz="1315">
                  <a:solidFill>
                    <a:srgbClr val="C51A1B"/>
                  </a:solidFill>
                  <a:latin typeface="Gill Sans MT"/>
                  <a:cs typeface="Gill Sans MT"/>
                </a:rPr>
                <a:t>Beratung</a:t>
              </a:r>
              <a:r>
                <a:rPr sz="1315" spc="-50">
                  <a:solidFill>
                    <a:srgbClr val="C51A1B"/>
                  </a:solidFill>
                  <a:latin typeface="Gill Sans MT"/>
                  <a:cs typeface="Gill Sans MT"/>
                </a:rPr>
                <a:t> </a:t>
              </a:r>
              <a:r>
                <a:rPr sz="1315">
                  <a:solidFill>
                    <a:srgbClr val="C51A1B"/>
                  </a:solidFill>
                  <a:latin typeface="Gill Sans MT"/>
                  <a:cs typeface="Gill Sans MT"/>
                </a:rPr>
                <a:t>und</a:t>
              </a:r>
              <a:r>
                <a:rPr sz="1315" spc="-45">
                  <a:solidFill>
                    <a:srgbClr val="C51A1B"/>
                  </a:solidFill>
                  <a:latin typeface="Gill Sans MT"/>
                  <a:cs typeface="Gill Sans MT"/>
                </a:rPr>
                <a:t> </a:t>
              </a:r>
              <a:r>
                <a:rPr sz="1315">
                  <a:solidFill>
                    <a:srgbClr val="C51A1B"/>
                  </a:solidFill>
                  <a:latin typeface="Gill Sans MT"/>
                  <a:cs typeface="Gill Sans MT"/>
                </a:rPr>
                <a:t>Unterstützung</a:t>
              </a:r>
              <a:r>
                <a:rPr sz="1315" spc="-50">
                  <a:solidFill>
                    <a:srgbClr val="C51A1B"/>
                  </a:solidFill>
                  <a:latin typeface="Gill Sans MT"/>
                  <a:cs typeface="Gill Sans MT"/>
                </a:rPr>
                <a:t> </a:t>
              </a:r>
              <a:r>
                <a:rPr sz="1315" spc="-23">
                  <a:solidFill>
                    <a:srgbClr val="C51A1B"/>
                  </a:solidFill>
                  <a:latin typeface="Gill Sans MT"/>
                  <a:cs typeface="Gill Sans MT"/>
                </a:rPr>
                <a:t>–</a:t>
              </a:r>
              <a:r>
                <a:rPr sz="1315" spc="-45">
                  <a:solidFill>
                    <a:srgbClr val="C51A1B"/>
                  </a:solidFill>
                  <a:latin typeface="Gill Sans MT"/>
                  <a:cs typeface="Gill Sans MT"/>
                </a:rPr>
                <a:t> </a:t>
              </a:r>
              <a:r>
                <a:rPr sz="1315">
                  <a:solidFill>
                    <a:srgbClr val="C51A1B"/>
                  </a:solidFill>
                  <a:latin typeface="Gill Sans MT"/>
                  <a:cs typeface="Gill Sans MT"/>
                </a:rPr>
                <a:t>mit</a:t>
              </a:r>
              <a:r>
                <a:rPr sz="1315" spc="-50">
                  <a:solidFill>
                    <a:srgbClr val="C51A1B"/>
                  </a:solidFill>
                  <a:latin typeface="Gill Sans MT"/>
                  <a:cs typeface="Gill Sans MT"/>
                </a:rPr>
                <a:t> </a:t>
              </a:r>
              <a:r>
                <a:rPr sz="1315">
                  <a:solidFill>
                    <a:srgbClr val="C51A1B"/>
                  </a:solidFill>
                  <a:latin typeface="Gill Sans MT"/>
                  <a:cs typeface="Gill Sans MT"/>
                </a:rPr>
                <a:t>diesen</a:t>
              </a:r>
              <a:r>
                <a:rPr sz="1315" spc="-45">
                  <a:solidFill>
                    <a:srgbClr val="C51A1B"/>
                  </a:solidFill>
                  <a:latin typeface="Gill Sans MT"/>
                  <a:cs typeface="Gill Sans MT"/>
                </a:rPr>
                <a:t> </a:t>
              </a:r>
              <a:r>
                <a:rPr sz="1315" spc="-9">
                  <a:solidFill>
                    <a:srgbClr val="C51A1B"/>
                  </a:solidFill>
                  <a:latin typeface="Gill Sans MT"/>
                  <a:cs typeface="Gill Sans MT"/>
                </a:rPr>
                <a:t>Leistungen </a:t>
              </a:r>
              <a:r>
                <a:rPr sz="1315">
                  <a:solidFill>
                    <a:srgbClr val="C51A1B"/>
                  </a:solidFill>
                  <a:latin typeface="Gill Sans MT"/>
                  <a:cs typeface="Gill Sans MT"/>
                </a:rPr>
                <a:t>helfen</a:t>
              </a:r>
              <a:r>
                <a:rPr sz="1315" spc="-27">
                  <a:solidFill>
                    <a:srgbClr val="C51A1B"/>
                  </a:solidFill>
                  <a:latin typeface="Gill Sans MT"/>
                  <a:cs typeface="Gill Sans MT"/>
                </a:rPr>
                <a:t> </a:t>
              </a:r>
              <a:r>
                <a:rPr sz="1315" spc="-59">
                  <a:solidFill>
                    <a:srgbClr val="C51A1B"/>
                  </a:solidFill>
                  <a:latin typeface="Gill Sans MT"/>
                  <a:cs typeface="Gill Sans MT"/>
                </a:rPr>
                <a:t>wir</a:t>
              </a:r>
              <a:r>
                <a:rPr sz="1315" spc="-23">
                  <a:solidFill>
                    <a:srgbClr val="C51A1B"/>
                  </a:solidFill>
                  <a:latin typeface="Gill Sans MT"/>
                  <a:cs typeface="Gill Sans MT"/>
                </a:rPr>
                <a:t> </a:t>
              </a:r>
              <a:r>
                <a:rPr sz="1315" spc="-9">
                  <a:solidFill>
                    <a:srgbClr val="C51A1B"/>
                  </a:solidFill>
                  <a:latin typeface="Gill Sans MT"/>
                  <a:cs typeface="Gill Sans MT"/>
                </a:rPr>
                <a:t>pastoralen</a:t>
              </a:r>
              <a:r>
                <a:rPr sz="1315" spc="-23">
                  <a:solidFill>
                    <a:srgbClr val="C51A1B"/>
                  </a:solidFill>
                  <a:latin typeface="Gill Sans MT"/>
                  <a:cs typeface="Gill Sans MT"/>
                </a:rPr>
                <a:t> </a:t>
              </a:r>
              <a:r>
                <a:rPr sz="1315">
                  <a:solidFill>
                    <a:srgbClr val="C51A1B"/>
                  </a:solidFill>
                  <a:latin typeface="Gill Sans MT"/>
                  <a:cs typeface="Gill Sans MT"/>
                </a:rPr>
                <a:t>Räten</a:t>
              </a:r>
              <a:r>
                <a:rPr sz="1315" spc="-23">
                  <a:solidFill>
                    <a:srgbClr val="C51A1B"/>
                  </a:solidFill>
                  <a:latin typeface="Gill Sans MT"/>
                  <a:cs typeface="Gill Sans MT"/>
                </a:rPr>
                <a:t> </a:t>
              </a:r>
              <a:r>
                <a:rPr sz="1315">
                  <a:solidFill>
                    <a:srgbClr val="C51A1B"/>
                  </a:solidFill>
                  <a:latin typeface="Gill Sans MT"/>
                  <a:cs typeface="Gill Sans MT"/>
                </a:rPr>
                <a:t>im</a:t>
              </a:r>
              <a:r>
                <a:rPr sz="1315" spc="-23">
                  <a:solidFill>
                    <a:srgbClr val="C51A1B"/>
                  </a:solidFill>
                  <a:latin typeface="Gill Sans MT"/>
                  <a:cs typeface="Gill Sans MT"/>
                </a:rPr>
                <a:t> </a:t>
              </a:r>
              <a:r>
                <a:rPr sz="1315">
                  <a:solidFill>
                    <a:srgbClr val="C51A1B"/>
                  </a:solidFill>
                  <a:latin typeface="Gill Sans MT"/>
                  <a:cs typeface="Gill Sans MT"/>
                </a:rPr>
                <a:t>Bistum</a:t>
              </a:r>
              <a:r>
                <a:rPr sz="1315" spc="-27">
                  <a:solidFill>
                    <a:srgbClr val="C51A1B"/>
                  </a:solidFill>
                  <a:latin typeface="Gill Sans MT"/>
                  <a:cs typeface="Gill Sans MT"/>
                </a:rPr>
                <a:t> </a:t>
              </a:r>
              <a:r>
                <a:rPr sz="1315" spc="-103">
                  <a:solidFill>
                    <a:srgbClr val="C51A1B"/>
                  </a:solidFill>
                  <a:latin typeface="Gill Sans MT"/>
                  <a:cs typeface="Gill Sans MT"/>
                </a:rPr>
                <a:t>Trier</a:t>
              </a:r>
              <a:r>
                <a:rPr sz="1315" spc="-23">
                  <a:solidFill>
                    <a:srgbClr val="C51A1B"/>
                  </a:solidFill>
                  <a:latin typeface="Gill Sans MT"/>
                  <a:cs typeface="Gill Sans MT"/>
                </a:rPr>
                <a:t> </a:t>
              </a:r>
              <a:r>
                <a:rPr sz="1315" spc="-18">
                  <a:solidFill>
                    <a:srgbClr val="C51A1B"/>
                  </a:solidFill>
                  <a:latin typeface="Gill Sans MT"/>
                  <a:cs typeface="Gill Sans MT"/>
                </a:rPr>
                <a:t>gerne</a:t>
              </a:r>
              <a:r>
                <a:rPr sz="1315" spc="-23">
                  <a:solidFill>
                    <a:srgbClr val="C51A1B"/>
                  </a:solidFill>
                  <a:latin typeface="Gill Sans MT"/>
                  <a:cs typeface="Gill Sans MT"/>
                </a:rPr>
                <a:t> </a:t>
              </a:r>
              <a:r>
                <a:rPr sz="1315" spc="-9">
                  <a:solidFill>
                    <a:srgbClr val="C51A1B"/>
                  </a:solidFill>
                  <a:latin typeface="Gill Sans MT"/>
                  <a:cs typeface="Gill Sans MT"/>
                </a:rPr>
                <a:t>weiter!</a:t>
              </a:r>
              <a:endParaRPr sz="1315">
                <a:latin typeface="Gill Sans MT"/>
                <a:cs typeface="Gill Sans MT"/>
              </a:endParaRPr>
            </a:p>
          </p:txBody>
        </p:sp>
        <p:grpSp>
          <p:nvGrpSpPr>
            <p:cNvPr id="22" name="object 22"/>
            <p:cNvGrpSpPr/>
            <p:nvPr/>
          </p:nvGrpSpPr>
          <p:grpSpPr>
            <a:xfrm>
              <a:off x="5571612" y="4514245"/>
              <a:ext cx="1413635" cy="1601352"/>
              <a:chOff x="3769349" y="4978209"/>
              <a:chExt cx="1558925" cy="1765935"/>
            </a:xfrm>
          </p:grpSpPr>
          <p:sp>
            <p:nvSpPr>
              <p:cNvPr id="23" name="object 23"/>
              <p:cNvSpPr/>
              <p:nvPr/>
            </p:nvSpPr>
            <p:spPr>
              <a:xfrm>
                <a:off x="3786098" y="4992916"/>
                <a:ext cx="1542415" cy="1751330"/>
              </a:xfrm>
              <a:custGeom>
                <a:avLst/>
                <a:gdLst/>
                <a:ahLst/>
                <a:cxnLst/>
                <a:rect l="l" t="t" r="r" b="b"/>
                <a:pathLst>
                  <a:path w="1542414" h="1751329">
                    <a:moveTo>
                      <a:pt x="1541906" y="0"/>
                    </a:moveTo>
                    <a:lnTo>
                      <a:pt x="0" y="0"/>
                    </a:lnTo>
                    <a:lnTo>
                      <a:pt x="0" y="1751075"/>
                    </a:lnTo>
                    <a:lnTo>
                      <a:pt x="1541906" y="1751075"/>
                    </a:lnTo>
                    <a:lnTo>
                      <a:pt x="1541906" y="0"/>
                    </a:lnTo>
                    <a:close/>
                  </a:path>
                </a:pathLst>
              </a:custGeom>
              <a:solidFill>
                <a:srgbClr val="000000">
                  <a:alpha val="19999"/>
                </a:srgbClr>
              </a:solidFill>
            </p:spPr>
            <p:txBody>
              <a:bodyPr wrap="square" lIns="0" tIns="0" rIns="0" bIns="0" rtlCol="0"/>
              <a:lstStyle/>
              <a:p>
                <a:endParaRPr/>
              </a:p>
            </p:txBody>
          </p:sp>
          <p:sp>
            <p:nvSpPr>
              <p:cNvPr id="24" name="object 24"/>
              <p:cNvSpPr/>
              <p:nvPr/>
            </p:nvSpPr>
            <p:spPr>
              <a:xfrm>
                <a:off x="3769349" y="4978209"/>
                <a:ext cx="1558925" cy="1630680"/>
              </a:xfrm>
              <a:custGeom>
                <a:avLst/>
                <a:gdLst/>
                <a:ahLst/>
                <a:cxnLst/>
                <a:rect l="l" t="t" r="r" b="b"/>
                <a:pathLst>
                  <a:path w="1558925" h="1630679">
                    <a:moveTo>
                      <a:pt x="815327" y="0"/>
                    </a:moveTo>
                    <a:lnTo>
                      <a:pt x="767420" y="1384"/>
                    </a:lnTo>
                    <a:lnTo>
                      <a:pt x="720243" y="5485"/>
                    </a:lnTo>
                    <a:lnTo>
                      <a:pt x="673871" y="12226"/>
                    </a:lnTo>
                    <a:lnTo>
                      <a:pt x="628380" y="21532"/>
                    </a:lnTo>
                    <a:lnTo>
                      <a:pt x="583848" y="33326"/>
                    </a:lnTo>
                    <a:lnTo>
                      <a:pt x="540351" y="47531"/>
                    </a:lnTo>
                    <a:lnTo>
                      <a:pt x="497965" y="64070"/>
                    </a:lnTo>
                    <a:lnTo>
                      <a:pt x="456767" y="82868"/>
                    </a:lnTo>
                    <a:lnTo>
                      <a:pt x="416833" y="103848"/>
                    </a:lnTo>
                    <a:lnTo>
                      <a:pt x="378240" y="126933"/>
                    </a:lnTo>
                    <a:lnTo>
                      <a:pt x="341064" y="152047"/>
                    </a:lnTo>
                    <a:lnTo>
                      <a:pt x="305382" y="179113"/>
                    </a:lnTo>
                    <a:lnTo>
                      <a:pt x="271270" y="208056"/>
                    </a:lnTo>
                    <a:lnTo>
                      <a:pt x="238804" y="238798"/>
                    </a:lnTo>
                    <a:lnTo>
                      <a:pt x="208061" y="271263"/>
                    </a:lnTo>
                    <a:lnTo>
                      <a:pt x="179118" y="305374"/>
                    </a:lnTo>
                    <a:lnTo>
                      <a:pt x="152051" y="341056"/>
                    </a:lnTo>
                    <a:lnTo>
                      <a:pt x="126937" y="378231"/>
                    </a:lnTo>
                    <a:lnTo>
                      <a:pt x="103851" y="416824"/>
                    </a:lnTo>
                    <a:lnTo>
                      <a:pt x="82871" y="456757"/>
                    </a:lnTo>
                    <a:lnTo>
                      <a:pt x="64072" y="497955"/>
                    </a:lnTo>
                    <a:lnTo>
                      <a:pt x="47532" y="540340"/>
                    </a:lnTo>
                    <a:lnTo>
                      <a:pt x="33327" y="583837"/>
                    </a:lnTo>
                    <a:lnTo>
                      <a:pt x="21533" y="628368"/>
                    </a:lnTo>
                    <a:lnTo>
                      <a:pt x="12227" y="673858"/>
                    </a:lnTo>
                    <a:lnTo>
                      <a:pt x="5485" y="720230"/>
                    </a:lnTo>
                    <a:lnTo>
                      <a:pt x="1384" y="767408"/>
                    </a:lnTo>
                    <a:lnTo>
                      <a:pt x="0" y="815314"/>
                    </a:lnTo>
                    <a:lnTo>
                      <a:pt x="1384" y="863221"/>
                    </a:lnTo>
                    <a:lnTo>
                      <a:pt x="5485" y="910398"/>
                    </a:lnTo>
                    <a:lnTo>
                      <a:pt x="12227" y="956770"/>
                    </a:lnTo>
                    <a:lnTo>
                      <a:pt x="21533" y="1002261"/>
                    </a:lnTo>
                    <a:lnTo>
                      <a:pt x="33327" y="1046793"/>
                    </a:lnTo>
                    <a:lnTo>
                      <a:pt x="47532" y="1090290"/>
                    </a:lnTo>
                    <a:lnTo>
                      <a:pt x="64072" y="1132676"/>
                    </a:lnTo>
                    <a:lnTo>
                      <a:pt x="82871" y="1173874"/>
                    </a:lnTo>
                    <a:lnTo>
                      <a:pt x="103851" y="1213808"/>
                    </a:lnTo>
                    <a:lnTo>
                      <a:pt x="126937" y="1252401"/>
                    </a:lnTo>
                    <a:lnTo>
                      <a:pt x="152051" y="1289577"/>
                    </a:lnTo>
                    <a:lnTo>
                      <a:pt x="179118" y="1325259"/>
                    </a:lnTo>
                    <a:lnTo>
                      <a:pt x="208061" y="1359371"/>
                    </a:lnTo>
                    <a:lnTo>
                      <a:pt x="238804" y="1391837"/>
                    </a:lnTo>
                    <a:lnTo>
                      <a:pt x="271270" y="1422580"/>
                    </a:lnTo>
                    <a:lnTo>
                      <a:pt x="305382" y="1451523"/>
                    </a:lnTo>
                    <a:lnTo>
                      <a:pt x="341064" y="1478590"/>
                    </a:lnTo>
                    <a:lnTo>
                      <a:pt x="378240" y="1503704"/>
                    </a:lnTo>
                    <a:lnTo>
                      <a:pt x="416833" y="1526790"/>
                    </a:lnTo>
                    <a:lnTo>
                      <a:pt x="456767" y="1547770"/>
                    </a:lnTo>
                    <a:lnTo>
                      <a:pt x="497965" y="1566569"/>
                    </a:lnTo>
                    <a:lnTo>
                      <a:pt x="540351" y="1583109"/>
                    </a:lnTo>
                    <a:lnTo>
                      <a:pt x="583848" y="1597314"/>
                    </a:lnTo>
                    <a:lnTo>
                      <a:pt x="628380" y="1609108"/>
                    </a:lnTo>
                    <a:lnTo>
                      <a:pt x="673871" y="1618414"/>
                    </a:lnTo>
                    <a:lnTo>
                      <a:pt x="720243" y="1625156"/>
                    </a:lnTo>
                    <a:lnTo>
                      <a:pt x="767420" y="1629257"/>
                    </a:lnTo>
                    <a:lnTo>
                      <a:pt x="815327" y="1630641"/>
                    </a:lnTo>
                    <a:lnTo>
                      <a:pt x="863233" y="1629257"/>
                    </a:lnTo>
                    <a:lnTo>
                      <a:pt x="910411" y="1625156"/>
                    </a:lnTo>
                    <a:lnTo>
                      <a:pt x="956783" y="1618414"/>
                    </a:lnTo>
                    <a:lnTo>
                      <a:pt x="1002273" y="1609108"/>
                    </a:lnTo>
                    <a:lnTo>
                      <a:pt x="1046805" y="1597314"/>
                    </a:lnTo>
                    <a:lnTo>
                      <a:pt x="1090302" y="1583109"/>
                    </a:lnTo>
                    <a:lnTo>
                      <a:pt x="1132688" y="1566569"/>
                    </a:lnTo>
                    <a:lnTo>
                      <a:pt x="1173886" y="1547770"/>
                    </a:lnTo>
                    <a:lnTo>
                      <a:pt x="1213820" y="1526790"/>
                    </a:lnTo>
                    <a:lnTo>
                      <a:pt x="1252413" y="1503704"/>
                    </a:lnTo>
                    <a:lnTo>
                      <a:pt x="1289589" y="1478590"/>
                    </a:lnTo>
                    <a:lnTo>
                      <a:pt x="1325272" y="1451523"/>
                    </a:lnTo>
                    <a:lnTo>
                      <a:pt x="1359384" y="1422580"/>
                    </a:lnTo>
                    <a:lnTo>
                      <a:pt x="1391850" y="1391837"/>
                    </a:lnTo>
                    <a:lnTo>
                      <a:pt x="1422592" y="1359371"/>
                    </a:lnTo>
                    <a:lnTo>
                      <a:pt x="1451535" y="1325259"/>
                    </a:lnTo>
                    <a:lnTo>
                      <a:pt x="1478602" y="1289577"/>
                    </a:lnTo>
                    <a:lnTo>
                      <a:pt x="1503717" y="1252401"/>
                    </a:lnTo>
                    <a:lnTo>
                      <a:pt x="1526803" y="1213808"/>
                    </a:lnTo>
                    <a:lnTo>
                      <a:pt x="1547783" y="1173874"/>
                    </a:lnTo>
                    <a:lnTo>
                      <a:pt x="1558655" y="1150046"/>
                    </a:lnTo>
                    <a:lnTo>
                      <a:pt x="1558655" y="480584"/>
                    </a:lnTo>
                    <a:lnTo>
                      <a:pt x="1526803" y="416824"/>
                    </a:lnTo>
                    <a:lnTo>
                      <a:pt x="1503717" y="378231"/>
                    </a:lnTo>
                    <a:lnTo>
                      <a:pt x="1478602" y="341056"/>
                    </a:lnTo>
                    <a:lnTo>
                      <a:pt x="1451535" y="305374"/>
                    </a:lnTo>
                    <a:lnTo>
                      <a:pt x="1422592" y="271263"/>
                    </a:lnTo>
                    <a:lnTo>
                      <a:pt x="1391850" y="238798"/>
                    </a:lnTo>
                    <a:lnTo>
                      <a:pt x="1359384" y="208056"/>
                    </a:lnTo>
                    <a:lnTo>
                      <a:pt x="1325272" y="179113"/>
                    </a:lnTo>
                    <a:lnTo>
                      <a:pt x="1289589" y="152047"/>
                    </a:lnTo>
                    <a:lnTo>
                      <a:pt x="1252413" y="126933"/>
                    </a:lnTo>
                    <a:lnTo>
                      <a:pt x="1213820" y="103848"/>
                    </a:lnTo>
                    <a:lnTo>
                      <a:pt x="1173886" y="82868"/>
                    </a:lnTo>
                    <a:lnTo>
                      <a:pt x="1132688" y="64070"/>
                    </a:lnTo>
                    <a:lnTo>
                      <a:pt x="1090302" y="47531"/>
                    </a:lnTo>
                    <a:lnTo>
                      <a:pt x="1046805" y="33326"/>
                    </a:lnTo>
                    <a:lnTo>
                      <a:pt x="1002273" y="21532"/>
                    </a:lnTo>
                    <a:lnTo>
                      <a:pt x="956783" y="12226"/>
                    </a:lnTo>
                    <a:lnTo>
                      <a:pt x="910411" y="5485"/>
                    </a:lnTo>
                    <a:lnTo>
                      <a:pt x="863233" y="1384"/>
                    </a:lnTo>
                    <a:lnTo>
                      <a:pt x="815327" y="0"/>
                    </a:lnTo>
                    <a:close/>
                  </a:path>
                </a:pathLst>
              </a:custGeom>
              <a:solidFill>
                <a:srgbClr val="C51A1B"/>
              </a:solidFill>
            </p:spPr>
            <p:txBody>
              <a:bodyPr wrap="square" lIns="0" tIns="0" rIns="0" bIns="0" rtlCol="0"/>
              <a:lstStyle/>
              <a:p>
                <a:endParaRPr/>
              </a:p>
            </p:txBody>
          </p:sp>
        </p:grpSp>
        <p:sp>
          <p:nvSpPr>
            <p:cNvPr id="25" name="object 25"/>
            <p:cNvSpPr txBox="1"/>
            <p:nvPr/>
          </p:nvSpPr>
          <p:spPr>
            <a:xfrm>
              <a:off x="5586800" y="4527581"/>
              <a:ext cx="1398663" cy="1242648"/>
            </a:xfrm>
            <a:prstGeom prst="rect">
              <a:avLst/>
            </a:prstGeom>
          </p:spPr>
          <p:txBody>
            <a:bodyPr vert="horz" wrap="square" lIns="0" tIns="0" rIns="0" bIns="0" rtlCol="0">
              <a:spAutoFit/>
            </a:bodyPr>
            <a:lstStyle/>
            <a:p>
              <a:pPr>
                <a:lnSpc>
                  <a:spcPct val="100000"/>
                </a:lnSpc>
              </a:pPr>
              <a:endParaRPr sz="1088">
                <a:latin typeface="Times New Roman"/>
                <a:cs typeface="Times New Roman"/>
              </a:endParaRPr>
            </a:p>
            <a:p>
              <a:pPr marL="278696" marR="372554" indent="149713" algn="just">
                <a:lnSpc>
                  <a:spcPct val="116700"/>
                </a:lnSpc>
                <a:spcBef>
                  <a:spcPts val="5"/>
                </a:spcBef>
              </a:pPr>
              <a:r>
                <a:rPr sz="861" i="1">
                  <a:solidFill>
                    <a:srgbClr val="FFFFFF"/>
                  </a:solidFill>
                  <a:latin typeface="Calibri"/>
                  <a:cs typeface="Calibri"/>
                </a:rPr>
                <a:t>Sie</a:t>
              </a:r>
              <a:r>
                <a:rPr sz="861" i="1" spc="45">
                  <a:solidFill>
                    <a:srgbClr val="FFFFFF"/>
                  </a:solidFill>
                  <a:latin typeface="Calibri"/>
                  <a:cs typeface="Calibri"/>
                </a:rPr>
                <a:t> </a:t>
              </a:r>
              <a:r>
                <a:rPr sz="861" i="1" spc="-9">
                  <a:solidFill>
                    <a:srgbClr val="FFFFFF"/>
                  </a:solidFill>
                  <a:latin typeface="Calibri"/>
                  <a:cs typeface="Calibri"/>
                </a:rPr>
                <a:t>haben </a:t>
              </a:r>
              <a:r>
                <a:rPr sz="861" i="1">
                  <a:solidFill>
                    <a:srgbClr val="FFFFFF"/>
                  </a:solidFill>
                  <a:latin typeface="Calibri"/>
                  <a:cs typeface="Calibri"/>
                </a:rPr>
                <a:t>Fragen</a:t>
              </a:r>
              <a:r>
                <a:rPr sz="861" i="1" spc="-14">
                  <a:solidFill>
                    <a:srgbClr val="FFFFFF"/>
                  </a:solidFill>
                  <a:latin typeface="Calibri"/>
                  <a:cs typeface="Calibri"/>
                </a:rPr>
                <a:t> </a:t>
              </a:r>
              <a:r>
                <a:rPr sz="861" i="1" spc="-18">
                  <a:solidFill>
                    <a:srgbClr val="FFFFFF"/>
                  </a:solidFill>
                  <a:latin typeface="Calibri"/>
                  <a:cs typeface="Calibri"/>
                </a:rPr>
                <a:t>oder</a:t>
              </a:r>
              <a:r>
                <a:rPr sz="861" i="1" spc="-9">
                  <a:solidFill>
                    <a:srgbClr val="FFFFFF"/>
                  </a:solidFill>
                  <a:latin typeface="Calibri"/>
                  <a:cs typeface="Calibri"/>
                </a:rPr>
                <a:t> </a:t>
              </a:r>
              <a:r>
                <a:rPr sz="861" i="1" spc="-18">
                  <a:solidFill>
                    <a:srgbClr val="FFFFFF"/>
                  </a:solidFill>
                  <a:latin typeface="Calibri"/>
                  <a:cs typeface="Calibri"/>
                </a:rPr>
                <a:t>sind</a:t>
              </a:r>
              <a:endParaRPr sz="861">
                <a:latin typeface="Calibri"/>
                <a:cs typeface="Calibri"/>
              </a:endParaRPr>
            </a:p>
            <a:p>
              <a:pPr marL="163532" marR="291940" indent="34549" algn="just">
                <a:lnSpc>
                  <a:spcPct val="116700"/>
                </a:lnSpc>
              </a:pPr>
              <a:r>
                <a:rPr sz="861" i="1">
                  <a:solidFill>
                    <a:srgbClr val="FFFFFF"/>
                  </a:solidFill>
                  <a:latin typeface="Calibri"/>
                  <a:cs typeface="Calibri"/>
                </a:rPr>
                <a:t>nicht</a:t>
              </a:r>
              <a:r>
                <a:rPr sz="861" i="1" spc="5">
                  <a:solidFill>
                    <a:srgbClr val="FFFFFF"/>
                  </a:solidFill>
                  <a:latin typeface="Calibri"/>
                  <a:cs typeface="Calibri"/>
                </a:rPr>
                <a:t> </a:t>
              </a:r>
              <a:r>
                <a:rPr sz="861" i="1" spc="-9">
                  <a:solidFill>
                    <a:srgbClr val="FFFFFF"/>
                  </a:solidFill>
                  <a:latin typeface="Calibri"/>
                  <a:cs typeface="Calibri"/>
                </a:rPr>
                <a:t>sicher,</a:t>
              </a:r>
              <a:r>
                <a:rPr sz="861" i="1" spc="5">
                  <a:solidFill>
                    <a:srgbClr val="FFFFFF"/>
                  </a:solidFill>
                  <a:latin typeface="Calibri"/>
                  <a:cs typeface="Calibri"/>
                </a:rPr>
                <a:t> </a:t>
              </a:r>
              <a:r>
                <a:rPr sz="861" i="1" spc="-9">
                  <a:solidFill>
                    <a:srgbClr val="FFFFFF"/>
                  </a:solidFill>
                  <a:latin typeface="Calibri"/>
                  <a:cs typeface="Calibri"/>
                </a:rPr>
                <a:t>welches </a:t>
              </a:r>
              <a:r>
                <a:rPr sz="861" i="1">
                  <a:solidFill>
                    <a:srgbClr val="FFFFFF"/>
                  </a:solidFill>
                  <a:latin typeface="Calibri"/>
                  <a:cs typeface="Calibri"/>
                </a:rPr>
                <a:t>Angebot</a:t>
              </a:r>
              <a:r>
                <a:rPr sz="861" i="1" spc="5">
                  <a:solidFill>
                    <a:srgbClr val="FFFFFF"/>
                  </a:solidFill>
                  <a:latin typeface="Calibri"/>
                  <a:cs typeface="Calibri"/>
                </a:rPr>
                <a:t> </a:t>
              </a:r>
              <a:r>
                <a:rPr sz="861" i="1">
                  <a:solidFill>
                    <a:srgbClr val="FFFFFF"/>
                  </a:solidFill>
                  <a:latin typeface="Calibri"/>
                  <a:cs typeface="Calibri"/>
                </a:rPr>
                <a:t>das</a:t>
              </a:r>
              <a:r>
                <a:rPr sz="861" i="1" spc="9">
                  <a:solidFill>
                    <a:srgbClr val="FFFFFF"/>
                  </a:solidFill>
                  <a:latin typeface="Calibri"/>
                  <a:cs typeface="Calibri"/>
                </a:rPr>
                <a:t> </a:t>
              </a:r>
              <a:r>
                <a:rPr sz="861" i="1" spc="-9">
                  <a:solidFill>
                    <a:srgbClr val="FFFFFF"/>
                  </a:solidFill>
                  <a:latin typeface="Calibri"/>
                  <a:cs typeface="Calibri"/>
                </a:rPr>
                <a:t>richtige </a:t>
              </a:r>
              <a:r>
                <a:rPr sz="861" i="1">
                  <a:solidFill>
                    <a:srgbClr val="FFFFFF"/>
                  </a:solidFill>
                  <a:latin typeface="Calibri"/>
                  <a:cs typeface="Calibri"/>
                </a:rPr>
                <a:t>für</a:t>
              </a:r>
              <a:r>
                <a:rPr sz="861" i="1" spc="23">
                  <a:solidFill>
                    <a:srgbClr val="FFFFFF"/>
                  </a:solidFill>
                  <a:latin typeface="Calibri"/>
                  <a:cs typeface="Calibri"/>
                </a:rPr>
                <a:t> </a:t>
              </a:r>
              <a:r>
                <a:rPr sz="861" i="1">
                  <a:solidFill>
                    <a:srgbClr val="FFFFFF"/>
                  </a:solidFill>
                  <a:latin typeface="Calibri"/>
                  <a:cs typeface="Calibri"/>
                </a:rPr>
                <a:t>Sie</a:t>
              </a:r>
              <a:r>
                <a:rPr sz="861" i="1" spc="27">
                  <a:solidFill>
                    <a:srgbClr val="FFFFFF"/>
                  </a:solidFill>
                  <a:latin typeface="Calibri"/>
                  <a:cs typeface="Calibri"/>
                </a:rPr>
                <a:t> </a:t>
              </a:r>
              <a:r>
                <a:rPr sz="861" i="1" spc="-18">
                  <a:solidFill>
                    <a:srgbClr val="FFFFFF"/>
                  </a:solidFill>
                  <a:latin typeface="Calibri"/>
                  <a:cs typeface="Calibri"/>
                </a:rPr>
                <a:t>ist?</a:t>
              </a:r>
              <a:endParaRPr sz="861">
                <a:latin typeface="Calibri"/>
                <a:cs typeface="Calibri"/>
              </a:endParaRPr>
            </a:p>
            <a:p>
              <a:pPr marL="393860" marR="387526" indent="-126680" algn="just">
                <a:lnSpc>
                  <a:spcPct val="116700"/>
                </a:lnSpc>
              </a:pPr>
              <a:r>
                <a:rPr sz="861" i="1">
                  <a:solidFill>
                    <a:srgbClr val="FFFFFF"/>
                  </a:solidFill>
                  <a:latin typeface="Calibri"/>
                  <a:cs typeface="Calibri"/>
                </a:rPr>
                <a:t>Wir</a:t>
              </a:r>
              <a:r>
                <a:rPr sz="861" i="1" spc="-23">
                  <a:solidFill>
                    <a:srgbClr val="FFFFFF"/>
                  </a:solidFill>
                  <a:latin typeface="Calibri"/>
                  <a:cs typeface="Calibri"/>
                </a:rPr>
                <a:t> </a:t>
              </a:r>
              <a:r>
                <a:rPr sz="861" i="1">
                  <a:solidFill>
                    <a:srgbClr val="FFFFFF"/>
                  </a:solidFill>
                  <a:latin typeface="Calibri"/>
                  <a:cs typeface="Calibri"/>
                </a:rPr>
                <a:t>helfen</a:t>
              </a:r>
              <a:r>
                <a:rPr sz="861" i="1" spc="-18">
                  <a:solidFill>
                    <a:srgbClr val="FFFFFF"/>
                  </a:solidFill>
                  <a:latin typeface="Calibri"/>
                  <a:cs typeface="Calibri"/>
                </a:rPr>
                <a:t> Ihnen</a:t>
              </a:r>
              <a:r>
                <a:rPr sz="861" i="1" spc="-9">
                  <a:solidFill>
                    <a:srgbClr val="FFFFFF"/>
                  </a:solidFill>
                  <a:latin typeface="Calibri"/>
                  <a:cs typeface="Calibri"/>
                </a:rPr>
                <a:t> gerne</a:t>
              </a:r>
              <a:r>
                <a:rPr sz="861" i="1" spc="-32">
                  <a:solidFill>
                    <a:srgbClr val="FFFFFF"/>
                  </a:solidFill>
                  <a:latin typeface="Calibri"/>
                  <a:cs typeface="Calibri"/>
                </a:rPr>
                <a:t> </a:t>
              </a:r>
              <a:r>
                <a:rPr sz="861" i="1" spc="-9">
                  <a:solidFill>
                    <a:srgbClr val="FFFFFF"/>
                  </a:solidFill>
                  <a:latin typeface="Calibri"/>
                  <a:cs typeface="Calibri"/>
                </a:rPr>
                <a:t>weiter!</a:t>
              </a:r>
              <a:endParaRPr sz="861">
                <a:latin typeface="Calibri"/>
                <a:cs typeface="Calibri"/>
              </a:endParaRPr>
            </a:p>
          </p:txBody>
        </p:sp>
        <p:sp>
          <p:nvSpPr>
            <p:cNvPr id="26" name="object 26"/>
            <p:cNvSpPr txBox="1"/>
            <p:nvPr/>
          </p:nvSpPr>
          <p:spPr>
            <a:xfrm>
              <a:off x="4712826" y="1183850"/>
              <a:ext cx="1699817" cy="1674904"/>
            </a:xfrm>
            <a:prstGeom prst="rect">
              <a:avLst/>
            </a:prstGeom>
          </p:spPr>
          <p:txBody>
            <a:bodyPr vert="horz" wrap="square" lIns="0" tIns="11516" rIns="0" bIns="0" rtlCol="0">
              <a:spAutoFit/>
            </a:bodyPr>
            <a:lstStyle/>
            <a:p>
              <a:pPr marL="11516" marR="149713">
                <a:lnSpc>
                  <a:spcPct val="105300"/>
                </a:lnSpc>
                <a:spcBef>
                  <a:spcPts val="91"/>
                </a:spcBef>
              </a:pPr>
              <a:r>
                <a:rPr sz="861" b="1">
                  <a:solidFill>
                    <a:srgbClr val="646363"/>
                  </a:solidFill>
                  <a:latin typeface="Calibri"/>
                  <a:cs typeface="Calibri"/>
                </a:rPr>
                <a:t>Vermittlung</a:t>
              </a:r>
              <a:r>
                <a:rPr sz="861" b="1" spc="27">
                  <a:solidFill>
                    <a:srgbClr val="646363"/>
                  </a:solidFill>
                  <a:latin typeface="Calibri"/>
                  <a:cs typeface="Calibri"/>
                </a:rPr>
                <a:t> </a:t>
              </a:r>
              <a:r>
                <a:rPr sz="861" b="1" spc="-9">
                  <a:solidFill>
                    <a:srgbClr val="646363"/>
                  </a:solidFill>
                  <a:latin typeface="Calibri"/>
                  <a:cs typeface="Calibri"/>
                </a:rPr>
                <a:t>unterschiedlicher </a:t>
              </a:r>
              <a:r>
                <a:rPr sz="861" b="1">
                  <a:solidFill>
                    <a:srgbClr val="646363"/>
                  </a:solidFill>
                  <a:latin typeface="Calibri"/>
                  <a:cs typeface="Calibri"/>
                </a:rPr>
                <a:t>Beratung-</a:t>
              </a:r>
              <a:r>
                <a:rPr sz="861" b="1" spc="27">
                  <a:solidFill>
                    <a:srgbClr val="646363"/>
                  </a:solidFill>
                  <a:latin typeface="Calibri"/>
                  <a:cs typeface="Calibri"/>
                </a:rPr>
                <a:t> </a:t>
              </a:r>
              <a:r>
                <a:rPr sz="861" b="1">
                  <a:solidFill>
                    <a:srgbClr val="646363"/>
                  </a:solidFill>
                  <a:latin typeface="Calibri"/>
                  <a:cs typeface="Calibri"/>
                </a:rPr>
                <a:t>und</a:t>
              </a:r>
              <a:r>
                <a:rPr sz="861" b="1" spc="27">
                  <a:solidFill>
                    <a:srgbClr val="646363"/>
                  </a:solidFill>
                  <a:latin typeface="Calibri"/>
                  <a:cs typeface="Calibri"/>
                </a:rPr>
                <a:t> </a:t>
              </a:r>
              <a:r>
                <a:rPr sz="861" b="1" spc="-9">
                  <a:solidFill>
                    <a:srgbClr val="646363"/>
                  </a:solidFill>
                  <a:latin typeface="Calibri"/>
                  <a:cs typeface="Calibri"/>
                </a:rPr>
                <a:t>Coachingangebote </a:t>
              </a:r>
              <a:r>
                <a:rPr sz="861">
                  <a:solidFill>
                    <a:srgbClr val="646363"/>
                  </a:solidFill>
                  <a:latin typeface="Calibri"/>
                  <a:cs typeface="Calibri"/>
                </a:rPr>
                <a:t>online</a:t>
              </a:r>
              <a:r>
                <a:rPr sz="861" spc="-23">
                  <a:solidFill>
                    <a:srgbClr val="646363"/>
                  </a:solidFill>
                  <a:latin typeface="Calibri"/>
                  <a:cs typeface="Calibri"/>
                </a:rPr>
                <a:t> </a:t>
              </a:r>
              <a:r>
                <a:rPr sz="861" spc="-18">
                  <a:solidFill>
                    <a:srgbClr val="646363"/>
                  </a:solidFill>
                  <a:latin typeface="Calibri"/>
                  <a:cs typeface="Calibri"/>
                </a:rPr>
                <a:t>oder</a:t>
              </a:r>
              <a:r>
                <a:rPr sz="861" spc="-23">
                  <a:solidFill>
                    <a:srgbClr val="646363"/>
                  </a:solidFill>
                  <a:latin typeface="Calibri"/>
                  <a:cs typeface="Calibri"/>
                </a:rPr>
                <a:t> </a:t>
              </a:r>
              <a:r>
                <a:rPr sz="861" spc="-18">
                  <a:solidFill>
                    <a:srgbClr val="646363"/>
                  </a:solidFill>
                  <a:latin typeface="Calibri"/>
                  <a:cs typeface="Calibri"/>
                </a:rPr>
                <a:t>vor</a:t>
              </a:r>
              <a:r>
                <a:rPr sz="861" spc="-23">
                  <a:solidFill>
                    <a:srgbClr val="646363"/>
                  </a:solidFill>
                  <a:latin typeface="Calibri"/>
                  <a:cs typeface="Calibri"/>
                </a:rPr>
                <a:t> Ort</a:t>
              </a:r>
              <a:endParaRPr sz="861">
                <a:latin typeface="Calibri"/>
                <a:cs typeface="Calibri"/>
              </a:endParaRPr>
            </a:p>
            <a:p>
              <a:pPr marL="11516" marR="221690">
                <a:lnSpc>
                  <a:spcPct val="105300"/>
                </a:lnSpc>
              </a:pPr>
              <a:r>
                <a:rPr sz="861">
                  <a:solidFill>
                    <a:srgbClr val="646363"/>
                  </a:solidFill>
                  <a:latin typeface="Calibri"/>
                  <a:cs typeface="Calibri"/>
                </a:rPr>
                <a:t>(u.a.</a:t>
              </a:r>
              <a:r>
                <a:rPr sz="861" spc="36">
                  <a:solidFill>
                    <a:srgbClr val="646363"/>
                  </a:solidFill>
                  <a:latin typeface="Calibri"/>
                  <a:cs typeface="Calibri"/>
                </a:rPr>
                <a:t> </a:t>
              </a:r>
              <a:r>
                <a:rPr sz="861">
                  <a:solidFill>
                    <a:srgbClr val="646363"/>
                  </a:solidFill>
                  <a:latin typeface="Calibri"/>
                  <a:cs typeface="Calibri"/>
                </a:rPr>
                <a:t>in</a:t>
              </a:r>
              <a:r>
                <a:rPr sz="861" spc="41">
                  <a:solidFill>
                    <a:srgbClr val="646363"/>
                  </a:solidFill>
                  <a:latin typeface="Calibri"/>
                  <a:cs typeface="Calibri"/>
                </a:rPr>
                <a:t> </a:t>
              </a:r>
              <a:r>
                <a:rPr sz="861">
                  <a:solidFill>
                    <a:srgbClr val="646363"/>
                  </a:solidFill>
                  <a:latin typeface="Calibri"/>
                  <a:cs typeface="Calibri"/>
                </a:rPr>
                <a:t>Zusammenarbeit</a:t>
              </a:r>
              <a:r>
                <a:rPr sz="861" spc="41">
                  <a:solidFill>
                    <a:srgbClr val="646363"/>
                  </a:solidFill>
                  <a:latin typeface="Calibri"/>
                  <a:cs typeface="Calibri"/>
                </a:rPr>
                <a:t> </a:t>
              </a:r>
              <a:r>
                <a:rPr sz="861">
                  <a:solidFill>
                    <a:srgbClr val="646363"/>
                  </a:solidFill>
                  <a:latin typeface="Calibri"/>
                  <a:cs typeface="Calibri"/>
                </a:rPr>
                <a:t>mit</a:t>
              </a:r>
              <a:r>
                <a:rPr sz="861" spc="41">
                  <a:solidFill>
                    <a:srgbClr val="646363"/>
                  </a:solidFill>
                  <a:latin typeface="Calibri"/>
                  <a:cs typeface="Calibri"/>
                </a:rPr>
                <a:t> </a:t>
              </a:r>
              <a:r>
                <a:rPr sz="861" spc="-23">
                  <a:solidFill>
                    <a:srgbClr val="646363"/>
                  </a:solidFill>
                  <a:latin typeface="Calibri"/>
                  <a:cs typeface="Calibri"/>
                </a:rPr>
                <a:t>der</a:t>
              </a:r>
              <a:r>
                <a:rPr sz="861">
                  <a:solidFill>
                    <a:srgbClr val="646363"/>
                  </a:solidFill>
                  <a:latin typeface="Calibri"/>
                  <a:cs typeface="Calibri"/>
                </a:rPr>
                <a:t> Organisationsberatung</a:t>
              </a:r>
              <a:r>
                <a:rPr sz="861" spc="14">
                  <a:solidFill>
                    <a:srgbClr val="646363"/>
                  </a:solidFill>
                  <a:latin typeface="Calibri"/>
                  <a:cs typeface="Calibri"/>
                </a:rPr>
                <a:t> </a:t>
              </a:r>
              <a:r>
                <a:rPr sz="861">
                  <a:solidFill>
                    <a:srgbClr val="646363"/>
                  </a:solidFill>
                  <a:latin typeface="Calibri"/>
                  <a:cs typeface="Calibri"/>
                </a:rPr>
                <a:t>und</a:t>
              </a:r>
              <a:r>
                <a:rPr sz="861" spc="14">
                  <a:solidFill>
                    <a:srgbClr val="646363"/>
                  </a:solidFill>
                  <a:latin typeface="Calibri"/>
                  <a:cs typeface="Calibri"/>
                </a:rPr>
                <a:t> </a:t>
              </a:r>
              <a:r>
                <a:rPr sz="861" spc="-23">
                  <a:solidFill>
                    <a:srgbClr val="646363"/>
                  </a:solidFill>
                  <a:latin typeface="Calibri"/>
                  <a:cs typeface="Calibri"/>
                </a:rPr>
                <a:t>den</a:t>
              </a:r>
              <a:r>
                <a:rPr sz="861">
                  <a:solidFill>
                    <a:srgbClr val="646363"/>
                  </a:solidFill>
                  <a:latin typeface="Calibri"/>
                  <a:cs typeface="Calibri"/>
                </a:rPr>
                <a:t> Missionarischen</a:t>
              </a:r>
              <a:r>
                <a:rPr sz="861" spc="41">
                  <a:solidFill>
                    <a:srgbClr val="646363"/>
                  </a:solidFill>
                  <a:latin typeface="Calibri"/>
                  <a:cs typeface="Calibri"/>
                </a:rPr>
                <a:t> </a:t>
              </a:r>
              <a:r>
                <a:rPr sz="861" spc="-9">
                  <a:solidFill>
                    <a:srgbClr val="646363"/>
                  </a:solidFill>
                  <a:latin typeface="Calibri"/>
                  <a:cs typeface="Calibri"/>
                </a:rPr>
                <a:t>Teams)</a:t>
              </a:r>
              <a:endParaRPr sz="861">
                <a:latin typeface="Calibri"/>
                <a:cs typeface="Calibri"/>
              </a:endParaRPr>
            </a:p>
            <a:p>
              <a:pPr marL="174473" marR="4607" indent="-163532">
                <a:lnSpc>
                  <a:spcPct val="105300"/>
                </a:lnSpc>
                <a:buChar char="•"/>
                <a:tabLst>
                  <a:tab pos="174473" algn="l"/>
                </a:tabLst>
              </a:pPr>
              <a:r>
                <a:rPr sz="861">
                  <a:solidFill>
                    <a:srgbClr val="646363"/>
                  </a:solidFill>
                  <a:latin typeface="Calibri"/>
                  <a:cs typeface="Calibri"/>
                </a:rPr>
                <a:t>z.</a:t>
              </a:r>
              <a:r>
                <a:rPr sz="861" spc="-68">
                  <a:solidFill>
                    <a:srgbClr val="646363"/>
                  </a:solidFill>
                  <a:latin typeface="Calibri"/>
                  <a:cs typeface="Calibri"/>
                </a:rPr>
                <a:t> </a:t>
              </a:r>
              <a:r>
                <a:rPr sz="861">
                  <a:solidFill>
                    <a:srgbClr val="646363"/>
                  </a:solidFill>
                  <a:latin typeface="Calibri"/>
                  <a:cs typeface="Calibri"/>
                </a:rPr>
                <a:t>B.</a:t>
              </a:r>
              <a:r>
                <a:rPr sz="861" spc="23">
                  <a:solidFill>
                    <a:srgbClr val="646363"/>
                  </a:solidFill>
                  <a:latin typeface="Calibri"/>
                  <a:cs typeface="Calibri"/>
                </a:rPr>
                <a:t> </a:t>
              </a:r>
              <a:r>
                <a:rPr sz="861">
                  <a:solidFill>
                    <a:srgbClr val="646363"/>
                  </a:solidFill>
                  <a:latin typeface="Calibri"/>
                  <a:cs typeface="Calibri"/>
                </a:rPr>
                <a:t>Gestaltung</a:t>
              </a:r>
              <a:r>
                <a:rPr sz="861" spc="27">
                  <a:solidFill>
                    <a:srgbClr val="646363"/>
                  </a:solidFill>
                  <a:latin typeface="Calibri"/>
                  <a:cs typeface="Calibri"/>
                </a:rPr>
                <a:t> </a:t>
              </a:r>
              <a:r>
                <a:rPr sz="861" spc="-9">
                  <a:solidFill>
                    <a:srgbClr val="646363"/>
                  </a:solidFill>
                  <a:latin typeface="Calibri"/>
                  <a:cs typeface="Calibri"/>
                </a:rPr>
                <a:t>einer</a:t>
              </a:r>
              <a:r>
                <a:rPr sz="861" spc="27">
                  <a:solidFill>
                    <a:srgbClr val="646363"/>
                  </a:solidFill>
                  <a:latin typeface="Calibri"/>
                  <a:cs typeface="Calibri"/>
                </a:rPr>
                <a:t> </a:t>
              </a:r>
              <a:r>
                <a:rPr sz="861" spc="-9">
                  <a:solidFill>
                    <a:srgbClr val="646363"/>
                  </a:solidFill>
                  <a:latin typeface="Calibri"/>
                  <a:cs typeface="Calibri"/>
                </a:rPr>
                <a:t>Ehrenamts- </a:t>
              </a:r>
              <a:r>
                <a:rPr sz="861">
                  <a:solidFill>
                    <a:srgbClr val="646363"/>
                  </a:solidFill>
                  <a:latin typeface="Calibri"/>
                  <a:cs typeface="Calibri"/>
                </a:rPr>
                <a:t>kultur,</a:t>
              </a:r>
              <a:r>
                <a:rPr sz="861" spc="9">
                  <a:solidFill>
                    <a:srgbClr val="646363"/>
                  </a:solidFill>
                  <a:latin typeface="Calibri"/>
                  <a:cs typeface="Calibri"/>
                </a:rPr>
                <a:t> </a:t>
              </a:r>
              <a:r>
                <a:rPr sz="861" spc="-9">
                  <a:solidFill>
                    <a:srgbClr val="646363"/>
                  </a:solidFill>
                  <a:latin typeface="Calibri"/>
                  <a:cs typeface="Calibri"/>
                </a:rPr>
                <a:t>Coaching</a:t>
              </a:r>
              <a:r>
                <a:rPr sz="861" spc="9">
                  <a:solidFill>
                    <a:srgbClr val="646363"/>
                  </a:solidFill>
                  <a:latin typeface="Calibri"/>
                  <a:cs typeface="Calibri"/>
                </a:rPr>
                <a:t> </a:t>
              </a:r>
              <a:r>
                <a:rPr sz="861">
                  <a:solidFill>
                    <a:srgbClr val="646363"/>
                  </a:solidFill>
                  <a:latin typeface="Calibri"/>
                  <a:cs typeface="Calibri"/>
                </a:rPr>
                <a:t>(individuell</a:t>
              </a:r>
              <a:r>
                <a:rPr sz="861" spc="14">
                  <a:solidFill>
                    <a:srgbClr val="646363"/>
                  </a:solidFill>
                  <a:latin typeface="Calibri"/>
                  <a:cs typeface="Calibri"/>
                </a:rPr>
                <a:t> </a:t>
              </a:r>
              <a:r>
                <a:rPr sz="861" spc="-18">
                  <a:solidFill>
                    <a:srgbClr val="646363"/>
                  </a:solidFill>
                  <a:latin typeface="Calibri"/>
                  <a:cs typeface="Calibri"/>
                </a:rPr>
                <a:t>oder</a:t>
              </a:r>
              <a:r>
                <a:rPr sz="861">
                  <a:solidFill>
                    <a:srgbClr val="646363"/>
                  </a:solidFill>
                  <a:latin typeface="Calibri"/>
                  <a:cs typeface="Calibri"/>
                </a:rPr>
                <a:t> im</a:t>
              </a:r>
              <a:r>
                <a:rPr sz="861" spc="-9">
                  <a:solidFill>
                    <a:srgbClr val="646363"/>
                  </a:solidFill>
                  <a:latin typeface="Calibri"/>
                  <a:cs typeface="Calibri"/>
                </a:rPr>
                <a:t> </a:t>
              </a:r>
              <a:r>
                <a:rPr sz="861">
                  <a:solidFill>
                    <a:srgbClr val="646363"/>
                  </a:solidFill>
                  <a:latin typeface="Calibri"/>
                  <a:cs typeface="Calibri"/>
                </a:rPr>
                <a:t>Team),</a:t>
              </a:r>
              <a:r>
                <a:rPr sz="861" spc="-9">
                  <a:solidFill>
                    <a:srgbClr val="646363"/>
                  </a:solidFill>
                  <a:latin typeface="Calibri"/>
                  <a:cs typeface="Calibri"/>
                </a:rPr>
                <a:t> Öffentlichkeitsarbeit, </a:t>
              </a:r>
              <a:r>
                <a:rPr sz="861">
                  <a:solidFill>
                    <a:srgbClr val="646363"/>
                  </a:solidFill>
                  <a:latin typeface="Calibri"/>
                  <a:cs typeface="Calibri"/>
                </a:rPr>
                <a:t>Gut</a:t>
              </a:r>
              <a:r>
                <a:rPr sz="861" spc="41">
                  <a:solidFill>
                    <a:srgbClr val="646363"/>
                  </a:solidFill>
                  <a:latin typeface="Calibri"/>
                  <a:cs typeface="Calibri"/>
                </a:rPr>
                <a:t> </a:t>
              </a:r>
              <a:r>
                <a:rPr sz="861">
                  <a:solidFill>
                    <a:srgbClr val="646363"/>
                  </a:solidFill>
                  <a:latin typeface="Calibri"/>
                  <a:cs typeface="Calibri"/>
                </a:rPr>
                <a:t>Zusammenarbeiten</a:t>
              </a:r>
              <a:r>
                <a:rPr sz="861" spc="45">
                  <a:solidFill>
                    <a:srgbClr val="646363"/>
                  </a:solidFill>
                  <a:latin typeface="Calibri"/>
                  <a:cs typeface="Calibri"/>
                </a:rPr>
                <a:t> </a:t>
              </a:r>
              <a:r>
                <a:rPr sz="861">
                  <a:solidFill>
                    <a:srgbClr val="646363"/>
                  </a:solidFill>
                  <a:latin typeface="Calibri"/>
                  <a:cs typeface="Calibri"/>
                </a:rPr>
                <a:t>im</a:t>
              </a:r>
              <a:r>
                <a:rPr sz="861" spc="41">
                  <a:solidFill>
                    <a:srgbClr val="646363"/>
                  </a:solidFill>
                  <a:latin typeface="Calibri"/>
                  <a:cs typeface="Calibri"/>
                </a:rPr>
                <a:t> </a:t>
              </a:r>
              <a:r>
                <a:rPr sz="861" spc="-18">
                  <a:solidFill>
                    <a:srgbClr val="646363"/>
                  </a:solidFill>
                  <a:latin typeface="Calibri"/>
                  <a:cs typeface="Calibri"/>
                </a:rPr>
                <a:t>Team,</a:t>
              </a:r>
              <a:r>
                <a:rPr sz="861">
                  <a:solidFill>
                    <a:srgbClr val="646363"/>
                  </a:solidFill>
                  <a:latin typeface="Calibri"/>
                  <a:cs typeface="Calibri"/>
                </a:rPr>
                <a:t> geistliche</a:t>
              </a:r>
              <a:r>
                <a:rPr sz="861" spc="54">
                  <a:solidFill>
                    <a:srgbClr val="646363"/>
                  </a:solidFill>
                  <a:latin typeface="Calibri"/>
                  <a:cs typeface="Calibri"/>
                </a:rPr>
                <a:t> </a:t>
              </a:r>
              <a:r>
                <a:rPr sz="861">
                  <a:solidFill>
                    <a:srgbClr val="646363"/>
                  </a:solidFill>
                  <a:latin typeface="Calibri"/>
                  <a:cs typeface="Calibri"/>
                </a:rPr>
                <a:t>Begleitung</a:t>
              </a:r>
              <a:r>
                <a:rPr sz="861" spc="54">
                  <a:solidFill>
                    <a:srgbClr val="646363"/>
                  </a:solidFill>
                  <a:latin typeface="Calibri"/>
                  <a:cs typeface="Calibri"/>
                </a:rPr>
                <a:t> </a:t>
              </a:r>
              <a:r>
                <a:rPr sz="861" spc="-23">
                  <a:solidFill>
                    <a:srgbClr val="646363"/>
                  </a:solidFill>
                  <a:latin typeface="Calibri"/>
                  <a:cs typeface="Calibri"/>
                </a:rPr>
                <a:t>und</a:t>
              </a:r>
              <a:r>
                <a:rPr sz="861">
                  <a:solidFill>
                    <a:srgbClr val="646363"/>
                  </a:solidFill>
                  <a:latin typeface="Calibri"/>
                  <a:cs typeface="Calibri"/>
                </a:rPr>
                <a:t> spirituelle</a:t>
              </a:r>
              <a:r>
                <a:rPr sz="861" spc="18">
                  <a:solidFill>
                    <a:srgbClr val="646363"/>
                  </a:solidFill>
                  <a:latin typeface="Calibri"/>
                  <a:cs typeface="Calibri"/>
                </a:rPr>
                <a:t> </a:t>
              </a:r>
              <a:r>
                <a:rPr sz="861" spc="-9">
                  <a:solidFill>
                    <a:srgbClr val="646363"/>
                  </a:solidFill>
                  <a:latin typeface="Calibri"/>
                  <a:cs typeface="Calibri"/>
                </a:rPr>
                <a:t>Angebote</a:t>
              </a:r>
              <a:endParaRPr sz="861">
                <a:latin typeface="Calibri"/>
                <a:cs typeface="Calibri"/>
              </a:endParaRPr>
            </a:p>
          </p:txBody>
        </p:sp>
        <p:sp>
          <p:nvSpPr>
            <p:cNvPr id="27" name="object 27"/>
            <p:cNvSpPr txBox="1"/>
            <p:nvPr/>
          </p:nvSpPr>
          <p:spPr>
            <a:xfrm>
              <a:off x="4712826" y="2980404"/>
              <a:ext cx="1521889" cy="423216"/>
            </a:xfrm>
            <a:prstGeom prst="rect">
              <a:avLst/>
            </a:prstGeom>
          </p:spPr>
          <p:txBody>
            <a:bodyPr vert="horz" wrap="square" lIns="0" tIns="11516" rIns="0" bIns="0" rtlCol="0">
              <a:spAutoFit/>
            </a:bodyPr>
            <a:lstStyle/>
            <a:p>
              <a:pPr marL="11516" marR="4607">
                <a:lnSpc>
                  <a:spcPct val="105300"/>
                </a:lnSpc>
                <a:spcBef>
                  <a:spcPts val="91"/>
                </a:spcBef>
              </a:pPr>
              <a:r>
                <a:rPr sz="861" b="1">
                  <a:solidFill>
                    <a:srgbClr val="646363"/>
                  </a:solidFill>
                  <a:latin typeface="Calibri"/>
                  <a:cs typeface="Calibri"/>
                </a:rPr>
                <a:t>Unbürokratische</a:t>
              </a:r>
              <a:r>
                <a:rPr sz="861" b="1" spc="41">
                  <a:solidFill>
                    <a:srgbClr val="646363"/>
                  </a:solidFill>
                  <a:latin typeface="Calibri"/>
                  <a:cs typeface="Calibri"/>
                </a:rPr>
                <a:t> </a:t>
              </a:r>
              <a:r>
                <a:rPr sz="861" b="1" spc="-9">
                  <a:solidFill>
                    <a:srgbClr val="646363"/>
                  </a:solidFill>
                  <a:latin typeface="Calibri"/>
                  <a:cs typeface="Calibri"/>
                </a:rPr>
                <a:t>Bezuschussung </a:t>
              </a:r>
              <a:r>
                <a:rPr sz="861" b="1">
                  <a:solidFill>
                    <a:srgbClr val="646363"/>
                  </a:solidFill>
                  <a:latin typeface="Calibri"/>
                  <a:cs typeface="Calibri"/>
                </a:rPr>
                <a:t>von</a:t>
              </a:r>
              <a:r>
                <a:rPr sz="861" b="1" spc="68">
                  <a:solidFill>
                    <a:srgbClr val="646363"/>
                  </a:solidFill>
                  <a:latin typeface="Calibri"/>
                  <a:cs typeface="Calibri"/>
                </a:rPr>
                <a:t> </a:t>
              </a:r>
              <a:r>
                <a:rPr sz="861" b="1">
                  <a:solidFill>
                    <a:srgbClr val="646363"/>
                  </a:solidFill>
                  <a:latin typeface="Calibri"/>
                  <a:cs typeface="Calibri"/>
                </a:rPr>
                <a:t>Klausurtagen,</a:t>
              </a:r>
              <a:r>
                <a:rPr sz="861" b="1" spc="68">
                  <a:solidFill>
                    <a:srgbClr val="646363"/>
                  </a:solidFill>
                  <a:latin typeface="Calibri"/>
                  <a:cs typeface="Calibri"/>
                </a:rPr>
                <a:t> </a:t>
              </a:r>
              <a:r>
                <a:rPr sz="861" b="1" spc="-9">
                  <a:solidFill>
                    <a:srgbClr val="646363"/>
                  </a:solidFill>
                  <a:latin typeface="Calibri"/>
                  <a:cs typeface="Calibri"/>
                </a:rPr>
                <a:t>Zukunfts- </a:t>
              </a:r>
              <a:r>
                <a:rPr sz="861" b="1">
                  <a:solidFill>
                    <a:srgbClr val="646363"/>
                  </a:solidFill>
                  <a:latin typeface="Calibri"/>
                  <a:cs typeface="Calibri"/>
                </a:rPr>
                <a:t>werkstätten </a:t>
              </a:r>
              <a:r>
                <a:rPr sz="861" b="1" spc="-18">
                  <a:solidFill>
                    <a:srgbClr val="646363"/>
                  </a:solidFill>
                  <a:latin typeface="Calibri"/>
                  <a:cs typeface="Calibri"/>
                </a:rPr>
                <a:t>etc.</a:t>
              </a:r>
              <a:endParaRPr sz="861">
                <a:latin typeface="Calibri"/>
                <a:cs typeface="Calibri"/>
              </a:endParaRPr>
            </a:p>
          </p:txBody>
        </p:sp>
        <p:sp>
          <p:nvSpPr>
            <p:cNvPr id="28" name="object 28"/>
            <p:cNvSpPr txBox="1"/>
            <p:nvPr/>
          </p:nvSpPr>
          <p:spPr>
            <a:xfrm>
              <a:off x="4712826" y="3533190"/>
              <a:ext cx="1886382" cy="562292"/>
            </a:xfrm>
            <a:prstGeom prst="rect">
              <a:avLst/>
            </a:prstGeom>
          </p:spPr>
          <p:txBody>
            <a:bodyPr vert="horz" wrap="square" lIns="0" tIns="11516" rIns="0" bIns="0" rtlCol="0">
              <a:spAutoFit/>
            </a:bodyPr>
            <a:lstStyle/>
            <a:p>
              <a:pPr marL="11516" marR="4607">
                <a:lnSpc>
                  <a:spcPct val="105300"/>
                </a:lnSpc>
                <a:spcBef>
                  <a:spcPts val="91"/>
                </a:spcBef>
              </a:pPr>
              <a:r>
                <a:rPr sz="861" b="1">
                  <a:solidFill>
                    <a:srgbClr val="646363"/>
                  </a:solidFill>
                  <a:latin typeface="Calibri"/>
                  <a:cs typeface="Calibri"/>
                </a:rPr>
                <a:t>Bereitstellung</a:t>
              </a:r>
              <a:r>
                <a:rPr sz="861" b="1" spc="36">
                  <a:solidFill>
                    <a:srgbClr val="646363"/>
                  </a:solidFill>
                  <a:latin typeface="Calibri"/>
                  <a:cs typeface="Calibri"/>
                </a:rPr>
                <a:t> </a:t>
              </a:r>
              <a:r>
                <a:rPr sz="861" b="1">
                  <a:solidFill>
                    <a:srgbClr val="646363"/>
                  </a:solidFill>
                  <a:latin typeface="Calibri"/>
                  <a:cs typeface="Calibri"/>
                </a:rPr>
                <a:t>von</a:t>
              </a:r>
              <a:r>
                <a:rPr sz="861" b="1" spc="36">
                  <a:solidFill>
                    <a:srgbClr val="646363"/>
                  </a:solidFill>
                  <a:latin typeface="Calibri"/>
                  <a:cs typeface="Calibri"/>
                </a:rPr>
                <a:t> </a:t>
              </a:r>
              <a:r>
                <a:rPr sz="861" b="1" spc="-9">
                  <a:solidFill>
                    <a:srgbClr val="646363"/>
                  </a:solidFill>
                  <a:latin typeface="Calibri"/>
                  <a:cs typeface="Calibri"/>
                </a:rPr>
                <a:t>Arbeitsmaterialien </a:t>
              </a:r>
              <a:r>
                <a:rPr sz="861">
                  <a:solidFill>
                    <a:srgbClr val="646363"/>
                  </a:solidFill>
                  <a:latin typeface="Calibri"/>
                  <a:cs typeface="Calibri"/>
                </a:rPr>
                <a:t>digital</a:t>
              </a:r>
              <a:r>
                <a:rPr sz="861" spc="18">
                  <a:solidFill>
                    <a:srgbClr val="646363"/>
                  </a:solidFill>
                  <a:latin typeface="Calibri"/>
                  <a:cs typeface="Calibri"/>
                </a:rPr>
                <a:t> </a:t>
              </a:r>
              <a:r>
                <a:rPr sz="861">
                  <a:solidFill>
                    <a:srgbClr val="646363"/>
                  </a:solidFill>
                  <a:latin typeface="Calibri"/>
                  <a:cs typeface="Calibri"/>
                </a:rPr>
                <a:t>und</a:t>
              </a:r>
              <a:r>
                <a:rPr sz="861" spc="23">
                  <a:solidFill>
                    <a:srgbClr val="646363"/>
                  </a:solidFill>
                  <a:latin typeface="Calibri"/>
                  <a:cs typeface="Calibri"/>
                </a:rPr>
                <a:t> </a:t>
              </a:r>
              <a:r>
                <a:rPr sz="861">
                  <a:solidFill>
                    <a:srgbClr val="646363"/>
                  </a:solidFill>
                  <a:latin typeface="Calibri"/>
                  <a:cs typeface="Calibri"/>
                </a:rPr>
                <a:t>analog</a:t>
              </a:r>
              <a:r>
                <a:rPr sz="861" spc="18">
                  <a:solidFill>
                    <a:srgbClr val="646363"/>
                  </a:solidFill>
                  <a:latin typeface="Calibri"/>
                  <a:cs typeface="Calibri"/>
                </a:rPr>
                <a:t> </a:t>
              </a:r>
              <a:r>
                <a:rPr sz="861" spc="-185">
                  <a:solidFill>
                    <a:srgbClr val="646363"/>
                  </a:solidFill>
                  <a:latin typeface="Calibri"/>
                  <a:cs typeface="Calibri"/>
                </a:rPr>
                <a:t>|</a:t>
              </a:r>
              <a:r>
                <a:rPr sz="861" spc="23">
                  <a:solidFill>
                    <a:srgbClr val="646363"/>
                  </a:solidFill>
                  <a:latin typeface="Calibri"/>
                  <a:cs typeface="Calibri"/>
                </a:rPr>
                <a:t> </a:t>
              </a:r>
              <a:r>
                <a:rPr sz="861">
                  <a:solidFill>
                    <a:srgbClr val="646363"/>
                  </a:solidFill>
                  <a:latin typeface="Calibri"/>
                  <a:cs typeface="Calibri"/>
                </a:rPr>
                <a:t>Online-</a:t>
              </a:r>
              <a:r>
                <a:rPr sz="861" spc="-9">
                  <a:solidFill>
                    <a:srgbClr val="646363"/>
                  </a:solidFill>
                  <a:latin typeface="Calibri"/>
                  <a:cs typeface="Calibri"/>
                </a:rPr>
                <a:t>Materialien </a:t>
              </a:r>
              <a:r>
                <a:rPr sz="861">
                  <a:solidFill>
                    <a:srgbClr val="646363"/>
                  </a:solidFill>
                  <a:latin typeface="Calibri"/>
                  <a:cs typeface="Calibri"/>
                </a:rPr>
                <a:t>finden</a:t>
              </a:r>
              <a:r>
                <a:rPr sz="861" spc="27">
                  <a:solidFill>
                    <a:srgbClr val="646363"/>
                  </a:solidFill>
                  <a:latin typeface="Calibri"/>
                  <a:cs typeface="Calibri"/>
                </a:rPr>
                <a:t> </a:t>
              </a:r>
              <a:r>
                <a:rPr sz="861">
                  <a:solidFill>
                    <a:srgbClr val="646363"/>
                  </a:solidFill>
                  <a:latin typeface="Calibri"/>
                  <a:cs typeface="Calibri"/>
                </a:rPr>
                <a:t>Sie</a:t>
              </a:r>
              <a:r>
                <a:rPr sz="861" spc="27">
                  <a:solidFill>
                    <a:srgbClr val="646363"/>
                  </a:solidFill>
                  <a:latin typeface="Calibri"/>
                  <a:cs typeface="Calibri"/>
                </a:rPr>
                <a:t> </a:t>
              </a:r>
              <a:r>
                <a:rPr sz="861" spc="-9">
                  <a:solidFill>
                    <a:srgbClr val="646363"/>
                  </a:solidFill>
                  <a:latin typeface="Calibri"/>
                  <a:cs typeface="Calibri"/>
                </a:rPr>
                <a:t>unter:</a:t>
              </a:r>
              <a:r>
                <a:rPr sz="861" spc="27">
                  <a:solidFill>
                    <a:srgbClr val="646363"/>
                  </a:solidFill>
                  <a:latin typeface="Calibri"/>
                  <a:cs typeface="Calibri"/>
                </a:rPr>
                <a:t> </a:t>
              </a:r>
              <a:r>
                <a:rPr sz="861" spc="-9">
                  <a:solidFill>
                    <a:srgbClr val="646363"/>
                  </a:solidFill>
                  <a:latin typeface="Calibri"/>
                  <a:cs typeface="Calibri"/>
                </a:rPr>
                <a:t>https://www.ehrenamt. </a:t>
              </a:r>
              <a:r>
                <a:rPr sz="861">
                  <a:solidFill>
                    <a:srgbClr val="646363"/>
                  </a:solidFill>
                  <a:latin typeface="Calibri"/>
                  <a:cs typeface="Calibri"/>
                </a:rPr>
                <a:t>bistum-</a:t>
              </a:r>
              <a:r>
                <a:rPr sz="861" spc="-9">
                  <a:solidFill>
                    <a:srgbClr val="646363"/>
                  </a:solidFill>
                  <a:latin typeface="Calibri"/>
                  <a:cs typeface="Calibri"/>
                </a:rPr>
                <a:t>trier.de/kirchliche-raete</a:t>
              </a:r>
              <a:endParaRPr sz="861">
                <a:latin typeface="Calibri"/>
                <a:cs typeface="Calibri"/>
              </a:endParaRPr>
            </a:p>
          </p:txBody>
        </p:sp>
        <p:pic>
          <p:nvPicPr>
            <p:cNvPr id="29" name="object 29"/>
            <p:cNvPicPr/>
            <p:nvPr/>
          </p:nvPicPr>
          <p:blipFill>
            <a:blip r:embed="rId6" cstate="print"/>
            <a:stretch>
              <a:fillRect/>
            </a:stretch>
          </p:blipFill>
          <p:spPr>
            <a:xfrm>
              <a:off x="4724343" y="4207096"/>
              <a:ext cx="494347" cy="493506"/>
            </a:xfrm>
            <a:prstGeom prst="rect">
              <a:avLst/>
            </a:prstGeom>
          </p:spPr>
        </p:pic>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7"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347864" y="1327826"/>
            <a:ext cx="5252294" cy="2616101"/>
          </a:xfrm>
        </p:spPr>
        <p:txBody>
          <a:bodyPr/>
          <a:lstStyle/>
          <a:p>
            <a:pPr marL="11516">
              <a:spcBef>
                <a:spcPts val="553"/>
              </a:spcBef>
            </a:pPr>
            <a:r>
              <a:rPr lang="de-DE" sz="1800" b="0">
                <a:effectLst/>
                <a:latin typeface="Arial" panose="020B0604020202020204" pitchFamily="34" charset="0"/>
                <a:ea typeface="Arial" panose="020B0604020202020204" pitchFamily="34" charset="0"/>
                <a:cs typeface="Times New Roman" panose="02020603050405020304" pitchFamily="18" charset="0"/>
              </a:rPr>
              <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spc="-9">
                <a:solidFill>
                  <a:srgbClr val="C51A1B"/>
                </a:solidFill>
                <a:latin typeface="Calibri"/>
                <a:cs typeface="Calibri"/>
              </a:rPr>
              <a:t>Ihre</a:t>
            </a:r>
            <a:r>
              <a:rPr lang="de-DE" sz="1800" spc="-18">
                <a:solidFill>
                  <a:srgbClr val="C51A1B"/>
                </a:solidFill>
                <a:latin typeface="Calibri"/>
                <a:cs typeface="Calibri"/>
              </a:rPr>
              <a:t> </a:t>
            </a:r>
            <a:r>
              <a:rPr lang="de-DE" sz="1800" spc="-9">
                <a:solidFill>
                  <a:srgbClr val="C51A1B"/>
                </a:solidFill>
                <a:latin typeface="Calibri"/>
                <a:cs typeface="Calibri"/>
              </a:rPr>
              <a:t>Ansprechpartner*innen:</a:t>
            </a:r>
            <a:r>
              <a:rPr lang="de-DE" sz="1800">
                <a:latin typeface="Calibri"/>
                <a:cs typeface="Calibri"/>
              </a:rPr>
              <a:t/>
            </a:r>
            <a:br>
              <a:rPr lang="de-DE" sz="1800">
                <a:latin typeface="Calibri"/>
                <a:cs typeface="Calibri"/>
              </a:rPr>
            </a:br>
            <a:r>
              <a:rPr lang="de-DE" sz="1800" b="1">
                <a:solidFill>
                  <a:srgbClr val="C51A1B"/>
                </a:solidFill>
                <a:latin typeface="Calibri"/>
                <a:cs typeface="Calibri"/>
              </a:rPr>
              <a:t>Bischöfliches</a:t>
            </a:r>
            <a:r>
              <a:rPr lang="de-DE" sz="1800" b="1" spc="77">
                <a:solidFill>
                  <a:srgbClr val="C51A1B"/>
                </a:solidFill>
                <a:latin typeface="Calibri"/>
                <a:cs typeface="Calibri"/>
              </a:rPr>
              <a:t> </a:t>
            </a:r>
            <a:r>
              <a:rPr lang="de-DE" sz="1800" b="1">
                <a:solidFill>
                  <a:srgbClr val="C51A1B"/>
                </a:solidFill>
                <a:latin typeface="Calibri"/>
                <a:cs typeface="Calibri"/>
              </a:rPr>
              <a:t>Generalvikariat</a:t>
            </a:r>
            <a:r>
              <a:rPr lang="de-DE" sz="1800" b="1" spc="77">
                <a:solidFill>
                  <a:srgbClr val="C51A1B"/>
                </a:solidFill>
                <a:latin typeface="Calibri"/>
                <a:cs typeface="Calibri"/>
              </a:rPr>
              <a:t> </a:t>
            </a:r>
            <a:r>
              <a:rPr lang="de-DE" sz="1800" b="1" spc="-9">
                <a:solidFill>
                  <a:srgbClr val="C51A1B"/>
                </a:solidFill>
                <a:latin typeface="Calibri"/>
                <a:cs typeface="Calibri"/>
              </a:rPr>
              <a:t>Trier</a:t>
            </a:r>
            <a:r>
              <a:rPr lang="de-DE" sz="1800">
                <a:latin typeface="Calibri"/>
                <a:cs typeface="Calibri"/>
              </a:rPr>
              <a:t/>
            </a:r>
            <a:br>
              <a:rPr lang="de-DE" sz="1800">
                <a:latin typeface="Calibri"/>
                <a:cs typeface="Calibri"/>
              </a:rPr>
            </a:br>
            <a:r>
              <a:rPr lang="de-DE" sz="1800">
                <a:latin typeface="Calibri"/>
                <a:cs typeface="Calibri"/>
              </a:rPr>
              <a:t/>
            </a:r>
            <a:br>
              <a:rPr lang="de-DE" sz="1800">
                <a:latin typeface="Calibri"/>
                <a:cs typeface="Calibri"/>
              </a:rPr>
            </a:br>
            <a:r>
              <a:rPr lang="de-DE" sz="1800">
                <a:solidFill>
                  <a:srgbClr val="C51A1B"/>
                </a:solidFill>
                <a:latin typeface="Calibri"/>
                <a:cs typeface="Calibri"/>
              </a:rPr>
              <a:t>Referent</a:t>
            </a:r>
            <a:r>
              <a:rPr lang="de-DE" sz="1800" spc="18">
                <a:solidFill>
                  <a:srgbClr val="C51A1B"/>
                </a:solidFill>
                <a:latin typeface="Calibri"/>
                <a:cs typeface="Calibri"/>
              </a:rPr>
              <a:t>: </a:t>
            </a:r>
            <a:r>
              <a:rPr lang="de-DE" sz="1800" spc="-36">
                <a:solidFill>
                  <a:srgbClr val="C51A1B"/>
                </a:solidFill>
                <a:latin typeface="Calibri"/>
                <a:cs typeface="Calibri"/>
              </a:rPr>
              <a:t>Dr.</a:t>
            </a:r>
            <a:r>
              <a:rPr lang="de-DE" sz="1800" spc="18">
                <a:solidFill>
                  <a:srgbClr val="C51A1B"/>
                </a:solidFill>
                <a:latin typeface="Calibri"/>
                <a:cs typeface="Calibri"/>
              </a:rPr>
              <a:t> </a:t>
            </a:r>
            <a:r>
              <a:rPr lang="de-DE" sz="1800">
                <a:solidFill>
                  <a:srgbClr val="C51A1B"/>
                </a:solidFill>
                <a:latin typeface="Calibri"/>
                <a:cs typeface="Calibri"/>
              </a:rPr>
              <a:t>Thomas</a:t>
            </a:r>
            <a:r>
              <a:rPr lang="de-DE" sz="1800" spc="18">
                <a:solidFill>
                  <a:srgbClr val="C51A1B"/>
                </a:solidFill>
                <a:latin typeface="Calibri"/>
                <a:cs typeface="Calibri"/>
              </a:rPr>
              <a:t> </a:t>
            </a:r>
            <a:r>
              <a:rPr lang="de-DE" sz="1800" spc="-50">
                <a:solidFill>
                  <a:srgbClr val="C51A1B"/>
                </a:solidFill>
                <a:latin typeface="Calibri"/>
                <a:cs typeface="Calibri"/>
              </a:rPr>
              <a:t>P.</a:t>
            </a:r>
            <a:r>
              <a:rPr lang="de-DE" sz="1800" spc="18">
                <a:solidFill>
                  <a:srgbClr val="C51A1B"/>
                </a:solidFill>
                <a:latin typeface="Calibri"/>
                <a:cs typeface="Calibri"/>
              </a:rPr>
              <a:t> </a:t>
            </a:r>
            <a:r>
              <a:rPr lang="de-DE" sz="1800" spc="-9">
                <a:solidFill>
                  <a:srgbClr val="C51A1B"/>
                </a:solidFill>
                <a:latin typeface="Calibri"/>
                <a:cs typeface="Calibri"/>
              </a:rPr>
              <a:t>Fößel </a:t>
            </a:r>
            <a:br>
              <a:rPr lang="de-DE" sz="1800" spc="-9">
                <a:solidFill>
                  <a:srgbClr val="C51A1B"/>
                </a:solidFill>
                <a:latin typeface="Calibri"/>
                <a:cs typeface="Calibri"/>
              </a:rPr>
            </a:br>
            <a:r>
              <a:rPr lang="de-DE" sz="1800">
                <a:solidFill>
                  <a:srgbClr val="C51A1B"/>
                </a:solidFill>
                <a:latin typeface="Calibri"/>
                <a:cs typeface="Calibri"/>
              </a:rPr>
              <a:t>Sachbearbeitung:</a:t>
            </a:r>
            <a:r>
              <a:rPr lang="de-DE" sz="1800" spc="5">
                <a:solidFill>
                  <a:srgbClr val="C51A1B"/>
                </a:solidFill>
                <a:latin typeface="Calibri"/>
                <a:cs typeface="Calibri"/>
              </a:rPr>
              <a:t> </a:t>
            </a:r>
            <a:r>
              <a:rPr lang="de-DE" sz="1800" spc="-9">
                <a:solidFill>
                  <a:srgbClr val="C51A1B"/>
                </a:solidFill>
                <a:latin typeface="Calibri"/>
                <a:cs typeface="Calibri"/>
              </a:rPr>
              <a:t>Melanie</a:t>
            </a:r>
            <a:r>
              <a:rPr lang="de-DE" sz="1800" spc="9">
                <a:solidFill>
                  <a:srgbClr val="C51A1B"/>
                </a:solidFill>
                <a:latin typeface="Calibri"/>
                <a:cs typeface="Calibri"/>
              </a:rPr>
              <a:t> </a:t>
            </a:r>
            <a:r>
              <a:rPr lang="de-DE" sz="1800" spc="-9">
                <a:solidFill>
                  <a:srgbClr val="C51A1B"/>
                </a:solidFill>
                <a:latin typeface="Calibri"/>
                <a:cs typeface="Calibri"/>
              </a:rPr>
              <a:t>Engelmann </a:t>
            </a:r>
            <a:r>
              <a:rPr lang="de-DE" sz="1800" spc="-9">
                <a:solidFill>
                  <a:srgbClr val="C51A1B"/>
                </a:solidFill>
                <a:latin typeface="Calibri"/>
                <a:cs typeface="Calibri"/>
                <a:hlinkClick r:id="rId7"/>
              </a:rPr>
              <a:t>raete@bistum-</a:t>
            </a:r>
            <a:r>
              <a:rPr lang="de-DE" sz="1800">
                <a:solidFill>
                  <a:srgbClr val="C51A1B"/>
                </a:solidFill>
                <a:latin typeface="Calibri"/>
                <a:cs typeface="Calibri"/>
                <a:hlinkClick r:id="rId7"/>
              </a:rPr>
              <a:t>trier.de</a:t>
            </a:r>
            <a:r>
              <a:rPr lang="de-DE" sz="1800" spc="136">
                <a:solidFill>
                  <a:srgbClr val="C51A1B"/>
                </a:solidFill>
                <a:latin typeface="Calibri"/>
                <a:cs typeface="Calibri"/>
              </a:rPr>
              <a:t> </a:t>
            </a:r>
            <a:r>
              <a:rPr lang="de-DE" sz="1800" spc="-59">
                <a:solidFill>
                  <a:srgbClr val="C51A1B"/>
                </a:solidFill>
                <a:latin typeface="Calibri"/>
                <a:cs typeface="Calibri"/>
              </a:rPr>
              <a:t>|</a:t>
            </a:r>
            <a:r>
              <a:rPr lang="de-DE" sz="1800" spc="154">
                <a:solidFill>
                  <a:srgbClr val="C51A1B"/>
                </a:solidFill>
                <a:latin typeface="Calibri"/>
                <a:cs typeface="Calibri"/>
              </a:rPr>
              <a:t> </a:t>
            </a:r>
            <a:r>
              <a:rPr lang="de-DE" sz="1800" spc="-9">
                <a:solidFill>
                  <a:srgbClr val="C51A1B"/>
                </a:solidFill>
                <a:latin typeface="Calibri"/>
                <a:cs typeface="Calibri"/>
              </a:rPr>
              <a:t>Telefon</a:t>
            </a:r>
            <a:r>
              <a:rPr lang="de-DE" sz="1800" spc="-18">
                <a:solidFill>
                  <a:srgbClr val="C51A1B"/>
                </a:solidFill>
                <a:latin typeface="Calibri"/>
                <a:cs typeface="Calibri"/>
              </a:rPr>
              <a:t> </a:t>
            </a:r>
            <a:r>
              <a:rPr lang="de-DE" sz="1800">
                <a:solidFill>
                  <a:srgbClr val="C51A1B"/>
                </a:solidFill>
                <a:latin typeface="Calibri"/>
                <a:cs typeface="Calibri"/>
              </a:rPr>
              <a:t>06</a:t>
            </a:r>
            <a:r>
              <a:rPr lang="de-DE" sz="1800" spc="-23">
                <a:solidFill>
                  <a:srgbClr val="C51A1B"/>
                </a:solidFill>
                <a:latin typeface="Calibri"/>
                <a:cs typeface="Calibri"/>
              </a:rPr>
              <a:t> </a:t>
            </a:r>
            <a:r>
              <a:rPr lang="de-DE" sz="1800" spc="-86">
                <a:solidFill>
                  <a:srgbClr val="C51A1B"/>
                </a:solidFill>
                <a:latin typeface="Calibri"/>
                <a:cs typeface="Calibri"/>
              </a:rPr>
              <a:t>51</a:t>
            </a:r>
            <a:r>
              <a:rPr lang="de-DE" sz="1800" spc="-14">
                <a:solidFill>
                  <a:srgbClr val="C51A1B"/>
                </a:solidFill>
                <a:latin typeface="Calibri"/>
                <a:cs typeface="Calibri"/>
              </a:rPr>
              <a:t> </a:t>
            </a:r>
            <a:r>
              <a:rPr lang="de-DE" sz="1800" spc="-185">
                <a:solidFill>
                  <a:srgbClr val="C51A1B"/>
                </a:solidFill>
                <a:latin typeface="Calibri"/>
                <a:cs typeface="Calibri"/>
              </a:rPr>
              <a:t>|</a:t>
            </a:r>
            <a:r>
              <a:rPr lang="de-DE" sz="1800" spc="-14">
                <a:solidFill>
                  <a:srgbClr val="C51A1B"/>
                </a:solidFill>
                <a:latin typeface="Calibri"/>
                <a:cs typeface="Calibri"/>
              </a:rPr>
              <a:t> </a:t>
            </a:r>
            <a:r>
              <a:rPr lang="de-DE" sz="1800" spc="-41">
                <a:solidFill>
                  <a:srgbClr val="C51A1B"/>
                </a:solidFill>
                <a:latin typeface="Calibri"/>
                <a:cs typeface="Calibri"/>
              </a:rPr>
              <a:t>7105-</a:t>
            </a:r>
            <a:r>
              <a:rPr lang="de-DE" sz="1800" spc="-23">
                <a:solidFill>
                  <a:srgbClr val="C51A1B"/>
                </a:solidFill>
                <a:latin typeface="Calibri"/>
                <a:cs typeface="Calibri"/>
              </a:rPr>
              <a:t>183</a:t>
            </a:r>
            <a:r>
              <a:rPr lang="de-DE" sz="1800">
                <a:latin typeface="Calibri"/>
                <a:cs typeface="Calibri"/>
              </a:rPr>
              <a:t/>
            </a:r>
            <a:br>
              <a:rPr lang="de-DE" sz="1800">
                <a:latin typeface="Calibri"/>
                <a:cs typeface="Calibri"/>
              </a:rPr>
            </a:br>
            <a:endParaRPr lang="de-DE" sz="2000"/>
          </a:p>
        </p:txBody>
      </p:sp>
      <p:sp>
        <p:nvSpPr>
          <p:cNvPr id="7" name="Text Placeholder 6"/>
          <p:cNvSpPr>
            <a:spLocks noGrp="1"/>
          </p:cNvSpPr>
          <p:nvPr>
            <p:ph type="body" sz="quarter" idx="10"/>
          </p:nvPr>
        </p:nvSpPr>
        <p:spPr>
          <a:xfrm>
            <a:off x="673031" y="5688927"/>
            <a:ext cx="8056317" cy="369332"/>
          </a:xfrm>
        </p:spPr>
        <p:txBody>
          <a:bodyPr/>
          <a:lstStyle/>
          <a:p>
            <a:endParaRPr lang="de-DE" sz="2400" b="0"/>
          </a:p>
        </p:txBody>
      </p:sp>
    </p:spTree>
    <p:extLst>
      <p:ext uri="{BB962C8B-B14F-4D97-AF65-F5344CB8AC3E}">
        <p14:creationId xmlns:p14="http://schemas.microsoft.com/office/powerpoint/2010/main" val="17353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1"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347864" y="1327826"/>
            <a:ext cx="5252294" cy="1231106"/>
          </a:xfrm>
        </p:spPr>
        <p:txBody>
          <a:bodyPr/>
          <a:lstStyle/>
          <a:p>
            <a:pPr marL="449580"/>
            <a:r>
              <a:rPr lang="de-DE" sz="1800" b="0">
                <a:effectLst/>
                <a:latin typeface="Arial" panose="020B0604020202020204" pitchFamily="34" charset="0"/>
                <a:ea typeface="Arial" panose="020B0604020202020204" pitchFamily="34" charset="0"/>
                <a:cs typeface="Times New Roman" panose="02020603050405020304" pitchFamily="18" charset="0"/>
              </a:rPr>
              <a:t/>
            </a:r>
            <a:br>
              <a:rPr lang="de-DE" sz="1800" b="0">
                <a:effectLst/>
                <a:latin typeface="Arial" panose="020B0604020202020204" pitchFamily="34" charset="0"/>
                <a:ea typeface="Arial" panose="020B0604020202020204" pitchFamily="34" charset="0"/>
                <a:cs typeface="Times New Roman" panose="02020603050405020304" pitchFamily="18" charset="0"/>
              </a:rPr>
            </a:br>
            <a:r>
              <a:rPr lang="de-DE" sz="1800" b="0">
                <a:effectLst/>
                <a:latin typeface="Hoefler Text"/>
                <a:ea typeface="MS Mincho" panose="02020609040205080304" pitchFamily="49" charset="-128"/>
                <a:cs typeface="Times New Roman" panose="02020603050405020304" pitchFamily="18" charset="0"/>
              </a:rPr>
              <a:t/>
            </a:r>
            <a:br>
              <a:rPr lang="de-DE" sz="1800" b="0">
                <a:effectLst/>
                <a:latin typeface="Hoefler Text"/>
                <a:ea typeface="MS Mincho" panose="02020609040205080304" pitchFamily="49" charset="-128"/>
                <a:cs typeface="Times New Roman" panose="02020603050405020304" pitchFamily="18" charset="0"/>
              </a:rPr>
            </a:br>
            <a:r>
              <a:rPr lang="de-DE" sz="1800" b="0">
                <a:effectLst/>
                <a:latin typeface="Arial" panose="020B0604020202020204" pitchFamily="34" charset="0"/>
                <a:ea typeface="Arial" panose="020B0604020202020204" pitchFamily="34" charset="0"/>
                <a:cs typeface="Times New Roman" panose="02020603050405020304" pitchFamily="18" charset="0"/>
              </a:rPr>
              <a:t>5. Ihre Themen – Ihre Fragen</a:t>
            </a:r>
            <a:r>
              <a:rPr lang="de-DE" sz="1800">
                <a:effectLst/>
                <a:latin typeface="Hoefler Text"/>
                <a:ea typeface="MS Mincho" panose="02020609040205080304" pitchFamily="49" charset="-128"/>
                <a:cs typeface="Times New Roman" panose="02020603050405020304" pitchFamily="18" charset="0"/>
              </a:rPr>
              <a:t/>
            </a:r>
            <a:br>
              <a:rPr lang="de-DE" sz="1800">
                <a:effectLst/>
                <a:latin typeface="Hoefler Text"/>
                <a:ea typeface="MS Mincho" panose="02020609040205080304" pitchFamily="49" charset="-128"/>
                <a:cs typeface="Times New Roman" panose="02020603050405020304" pitchFamily="18" charset="0"/>
              </a:rPr>
            </a:br>
            <a:endParaRPr lang="de-DE" sz="2000"/>
          </a:p>
        </p:txBody>
      </p:sp>
      <p:sp>
        <p:nvSpPr>
          <p:cNvPr id="7" name="Text Placeholder 6"/>
          <p:cNvSpPr>
            <a:spLocks noGrp="1"/>
          </p:cNvSpPr>
          <p:nvPr>
            <p:ph type="body" sz="quarter" idx="10"/>
          </p:nvPr>
        </p:nvSpPr>
        <p:spPr>
          <a:xfrm>
            <a:off x="673031" y="5688927"/>
            <a:ext cx="8056317" cy="369332"/>
          </a:xfrm>
        </p:spPr>
        <p:txBody>
          <a:bodyPr/>
          <a:lstStyle/>
          <a:p>
            <a:endParaRPr lang="de-DE" sz="2400" b="0"/>
          </a:p>
        </p:txBody>
      </p:sp>
    </p:spTree>
    <p:extLst>
      <p:ext uri="{BB962C8B-B14F-4D97-AF65-F5344CB8AC3E}">
        <p14:creationId xmlns:p14="http://schemas.microsoft.com/office/powerpoint/2010/main" val="1852416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37876" y="2489627"/>
            <a:ext cx="6006243" cy="2997776"/>
          </a:xfrm>
          <a:prstGeom prst="rect">
            <a:avLst/>
          </a:prstGeom>
        </p:spPr>
        <p:txBody>
          <a:bodyPr vert="horz" wrap="square" lIns="0" tIns="52864" rIns="0" bIns="0" rtlCol="0">
            <a:spAutoFit/>
          </a:bodyPr>
          <a:lstStyle/>
          <a:p>
            <a:pPr marL="9525">
              <a:spcBef>
                <a:spcPts val="416"/>
              </a:spcBef>
            </a:pPr>
            <a:r>
              <a:rPr lang="de-DE" sz="2700" dirty="0">
                <a:solidFill>
                  <a:srgbClr val="C9252B"/>
                </a:solidFill>
                <a:latin typeface="Gill Sans MT" panose="020B0502020104020203" pitchFamily="34" charset="0"/>
                <a:cs typeface="Gill Sans MT"/>
              </a:rPr>
              <a:t>	online-</a:t>
            </a:r>
            <a:r>
              <a:rPr sz="2700" dirty="0">
                <a:solidFill>
                  <a:srgbClr val="C9252B"/>
                </a:solidFill>
                <a:latin typeface="Gill Sans MT" panose="020B0502020104020203" pitchFamily="34" charset="0"/>
                <a:cs typeface="Gill Sans MT"/>
              </a:rPr>
              <a:t>Forum</a:t>
            </a:r>
            <a:r>
              <a:rPr sz="2700" spc="-71" dirty="0">
                <a:solidFill>
                  <a:srgbClr val="C9252B"/>
                </a:solidFill>
                <a:latin typeface="Gill Sans MT" panose="020B0502020104020203" pitchFamily="34" charset="0"/>
                <a:cs typeface="Gill Sans MT"/>
              </a:rPr>
              <a:t> </a:t>
            </a:r>
            <a:r>
              <a:rPr lang="de-DE" sz="2700" i="1" spc="-71" dirty="0">
                <a:solidFill>
                  <a:srgbClr val="C9252B"/>
                </a:solidFill>
                <a:latin typeface="Gill Sans MT" panose="020B0502020104020203" pitchFamily="34" charset="0"/>
                <a:cs typeface="Gill Sans MT"/>
              </a:rPr>
              <a:t>extra </a:t>
            </a:r>
            <a:r>
              <a:rPr sz="2700" dirty="0" err="1">
                <a:solidFill>
                  <a:srgbClr val="C9252B"/>
                </a:solidFill>
                <a:latin typeface="Gill Sans MT" panose="020B0502020104020203" pitchFamily="34" charset="0"/>
                <a:cs typeface="Gill Sans MT"/>
              </a:rPr>
              <a:t>zur</a:t>
            </a:r>
            <a:r>
              <a:rPr sz="2700" spc="-75" dirty="0">
                <a:solidFill>
                  <a:srgbClr val="C9252B"/>
                </a:solidFill>
                <a:latin typeface="Gill Sans MT" panose="020B0502020104020203" pitchFamily="34" charset="0"/>
                <a:cs typeface="Gill Sans MT"/>
              </a:rPr>
              <a:t> </a:t>
            </a:r>
            <a:r>
              <a:rPr sz="2700" spc="-8" dirty="0" err="1">
                <a:solidFill>
                  <a:srgbClr val="C9252B"/>
                </a:solidFill>
                <a:latin typeface="Gill Sans MT" panose="020B0502020104020203" pitchFamily="34" charset="0"/>
                <a:cs typeface="Gill Sans MT"/>
              </a:rPr>
              <a:t>Rätearbeit</a:t>
            </a:r>
            <a:endParaRPr lang="de-DE" sz="2700" spc="-8" dirty="0">
              <a:solidFill>
                <a:srgbClr val="C9252B"/>
              </a:solidFill>
              <a:latin typeface="Gill Sans MT" panose="020B0502020104020203" pitchFamily="34" charset="0"/>
              <a:cs typeface="Gill Sans MT"/>
            </a:endParaRPr>
          </a:p>
          <a:p>
            <a:pPr>
              <a:lnSpc>
                <a:spcPts val="1400"/>
              </a:lnSpc>
            </a:pPr>
            <a:endParaRPr lang="de-DE" sz="2400" b="0" i="0" dirty="0">
              <a:solidFill>
                <a:srgbClr val="000000"/>
              </a:solidFill>
              <a:effectLst/>
              <a:latin typeface="Gill Sans MT" panose="020B0502020104020203" pitchFamily="34" charset="0"/>
            </a:endParaRPr>
          </a:p>
          <a:p>
            <a:pPr>
              <a:lnSpc>
                <a:spcPts val="1000"/>
              </a:lnSpc>
            </a:pPr>
            <a:endParaRPr lang="de-DE" sz="2200" b="1" i="0" dirty="0">
              <a:solidFill>
                <a:srgbClr val="000000"/>
              </a:solidFill>
              <a:effectLst/>
              <a:latin typeface="Gill Sans MT" panose="020B0502020104020203" pitchFamily="34" charset="0"/>
            </a:endParaRPr>
          </a:p>
          <a:p>
            <a:pPr>
              <a:lnSpc>
                <a:spcPts val="1000"/>
              </a:lnSpc>
            </a:pPr>
            <a:endParaRPr lang="de-DE" sz="2200" b="1" i="0" dirty="0">
              <a:solidFill>
                <a:srgbClr val="000000"/>
              </a:solidFill>
              <a:effectLst/>
              <a:latin typeface="Gill Sans MT" panose="020B0502020104020203" pitchFamily="34" charset="0"/>
            </a:endParaRPr>
          </a:p>
          <a:p>
            <a:r>
              <a:rPr lang="de-DE" sz="1800" b="1" dirty="0">
                <a:effectLst/>
                <a:latin typeface="Arial" panose="020B0604020202020204" pitchFamily="34" charset="0"/>
                <a:ea typeface="MS Mincho" panose="02020609040205080304" pitchFamily="49" charset="-128"/>
                <a:cs typeface="Times New Roman" panose="02020603050405020304" pitchFamily="18" charset="0"/>
              </a:rPr>
              <a:t>Praktische Hinweise zu den Verwaltungsratswahlen</a:t>
            </a:r>
            <a:endParaRPr lang="de-DE" sz="1800" dirty="0">
              <a:effectLst/>
              <a:latin typeface="Hoefler Text"/>
              <a:ea typeface="MS Mincho" panose="02020609040205080304" pitchFamily="49" charset="-128"/>
              <a:cs typeface="Times New Roman" panose="02020603050405020304" pitchFamily="18" charset="0"/>
            </a:endParaRPr>
          </a:p>
          <a:p>
            <a:endParaRPr lang="de-DE" spc="-19" dirty="0">
              <a:latin typeface="Gill Sans MT" panose="020B0502020104020203" pitchFamily="34" charset="0"/>
              <a:cs typeface="Gill Sans MT"/>
            </a:endParaRPr>
          </a:p>
          <a:p>
            <a:endParaRPr lang="de-DE" spc="-19" dirty="0">
              <a:latin typeface="Gill Sans MT" panose="020B0502020104020203" pitchFamily="34" charset="0"/>
              <a:cs typeface="Gill Sans MT"/>
            </a:endParaRPr>
          </a:p>
          <a:p>
            <a:endParaRPr lang="de-DE" spc="-19" dirty="0">
              <a:latin typeface="Gill Sans MT" panose="020B0502020104020203" pitchFamily="34" charset="0"/>
              <a:cs typeface="Gill Sans MT"/>
            </a:endParaRPr>
          </a:p>
          <a:p>
            <a:pPr marL="9525" marR="849630">
              <a:spcAft>
                <a:spcPts val="600"/>
              </a:spcAft>
            </a:pPr>
            <a:r>
              <a:rPr lang="de-DE" dirty="0">
                <a:latin typeface="Gill Sans MT" panose="020B0502020104020203" pitchFamily="34" charset="0"/>
                <a:cs typeface="Gill Sans MT"/>
              </a:rPr>
              <a:t>Mittwoch</a:t>
            </a:r>
            <a:r>
              <a:rPr dirty="0">
                <a:latin typeface="Gill Sans MT" panose="020B0502020104020203" pitchFamily="34" charset="0"/>
                <a:cs typeface="Gill Sans MT"/>
              </a:rPr>
              <a:t>,</a:t>
            </a:r>
            <a:r>
              <a:rPr spc="11" dirty="0">
                <a:latin typeface="Gill Sans MT" panose="020B0502020104020203" pitchFamily="34" charset="0"/>
                <a:cs typeface="Gill Sans MT"/>
              </a:rPr>
              <a:t> </a:t>
            </a:r>
            <a:r>
              <a:rPr lang="de-DE" spc="-8" dirty="0">
                <a:latin typeface="Gill Sans MT" panose="020B0502020104020203" pitchFamily="34" charset="0"/>
                <a:cs typeface="Gill Sans MT"/>
              </a:rPr>
              <a:t>03. Januar </a:t>
            </a:r>
            <a:r>
              <a:rPr lang="de-DE" spc="-8" dirty="0" smtClean="0">
                <a:latin typeface="Gill Sans MT" panose="020B0502020104020203" pitchFamily="34" charset="0"/>
                <a:cs typeface="Gill Sans MT"/>
              </a:rPr>
              <a:t>2024</a:t>
            </a:r>
            <a:endParaRPr lang="de-DE" spc="-8" dirty="0">
              <a:latin typeface="Gill Sans MT" panose="020B0502020104020203" pitchFamily="34" charset="0"/>
              <a:cs typeface="Gill Sans MT"/>
            </a:endParaRPr>
          </a:p>
          <a:p>
            <a:pPr marL="9525" marR="849630">
              <a:spcAft>
                <a:spcPts val="600"/>
              </a:spcAft>
            </a:pPr>
            <a:r>
              <a:rPr lang="de-DE" spc="-8" dirty="0">
                <a:latin typeface="Gill Sans MT" panose="020B0502020104020203" pitchFamily="34" charset="0"/>
                <a:cs typeface="Gill Sans MT"/>
              </a:rPr>
              <a:t>19.00 Uhr – max. 21.00 Uhr</a:t>
            </a:r>
          </a:p>
          <a:p>
            <a:pPr marL="9525" marR="849630">
              <a:spcAft>
                <a:spcPts val="600"/>
              </a:spcAft>
            </a:pPr>
            <a:endParaRPr lang="de-DE" spc="-8" dirty="0">
              <a:latin typeface="Gill Sans MT" panose="020B0502020104020203" pitchFamily="34" charset="0"/>
              <a:cs typeface="Gill Sans MT"/>
            </a:endParaRPr>
          </a:p>
        </p:txBody>
      </p:sp>
    </p:spTree>
    <p:extLst>
      <p:ext uri="{BB962C8B-B14F-4D97-AF65-F5344CB8AC3E}">
        <p14:creationId xmlns:p14="http://schemas.microsoft.com/office/powerpoint/2010/main" val="1556347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7"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347864" y="1327826"/>
            <a:ext cx="5252294" cy="1785104"/>
          </a:xfrm>
        </p:spPr>
        <p:txBody>
          <a:bodyPr/>
          <a:lstStyle/>
          <a:p>
            <a:pPr marL="449580"/>
            <a:r>
              <a:rPr lang="de-DE" sz="1800" b="0" dirty="0">
                <a:effectLst/>
                <a:latin typeface="Arial" panose="020B0604020202020204" pitchFamily="34" charset="0"/>
                <a:ea typeface="Arial" panose="020B0604020202020204" pitchFamily="34" charset="0"/>
                <a:cs typeface="Times New Roman" panose="02020603050405020304" pitchFamily="18" charset="0"/>
              </a:rPr>
              <a:t>1. Wie funktioniert der Übergang vom Pfarreienrat zum Pfarrgemeinderat praktisch? Was ändert sich bei der Ratsarbeit?</a:t>
            </a:r>
            <a:br>
              <a:rPr lang="de-DE" sz="1800" b="0" dirty="0">
                <a:effectLst/>
                <a:latin typeface="Arial" panose="020B0604020202020204" pitchFamily="34" charset="0"/>
                <a:ea typeface="Arial" panose="020B0604020202020204" pitchFamily="34" charset="0"/>
                <a:cs typeface="Times New Roman" panose="02020603050405020304" pitchFamily="18" charset="0"/>
              </a:rPr>
            </a:br>
            <a:r>
              <a:rPr lang="de-DE" sz="1800" b="0" dirty="0">
                <a:effectLst/>
                <a:latin typeface="Hoefler Text"/>
                <a:ea typeface="MS Mincho" panose="02020609040205080304" pitchFamily="49" charset="-128"/>
                <a:cs typeface="Times New Roman" panose="02020603050405020304" pitchFamily="18" charset="0"/>
              </a:rPr>
              <a:t/>
            </a:r>
            <a:br>
              <a:rPr lang="de-DE" sz="1800" b="0" dirty="0">
                <a:effectLst/>
                <a:latin typeface="Hoefler Text"/>
                <a:ea typeface="MS Mincho" panose="02020609040205080304" pitchFamily="49" charset="-128"/>
                <a:cs typeface="Times New Roman" panose="02020603050405020304" pitchFamily="18" charset="0"/>
              </a:rPr>
            </a:br>
            <a:r>
              <a:rPr lang="de-DE" sz="1800" dirty="0">
                <a:effectLst/>
                <a:latin typeface="Hoefler Text"/>
                <a:ea typeface="MS Mincho" panose="02020609040205080304" pitchFamily="49" charset="-128"/>
                <a:cs typeface="Times New Roman" panose="02020603050405020304" pitchFamily="18" charset="0"/>
              </a:rPr>
              <a:t/>
            </a:r>
            <a:br>
              <a:rPr lang="de-DE" sz="1800" dirty="0">
                <a:effectLst/>
                <a:latin typeface="Hoefler Text"/>
                <a:ea typeface="MS Mincho" panose="02020609040205080304" pitchFamily="49" charset="-128"/>
                <a:cs typeface="Times New Roman" panose="02020603050405020304" pitchFamily="18" charset="0"/>
              </a:rPr>
            </a:br>
            <a:endParaRPr lang="de-DE" sz="2000" dirty="0"/>
          </a:p>
        </p:txBody>
      </p:sp>
      <p:sp>
        <p:nvSpPr>
          <p:cNvPr id="7" name="Text Placeholder 6"/>
          <p:cNvSpPr>
            <a:spLocks noGrp="1"/>
          </p:cNvSpPr>
          <p:nvPr>
            <p:ph type="body" sz="quarter" idx="10"/>
          </p:nvPr>
        </p:nvSpPr>
        <p:spPr>
          <a:xfrm>
            <a:off x="673031" y="5688927"/>
            <a:ext cx="8056317" cy="369332"/>
          </a:xfrm>
        </p:spPr>
        <p:txBody>
          <a:bodyPr/>
          <a:lstStyle/>
          <a:p>
            <a:endParaRPr lang="de-DE" sz="2400" b="0"/>
          </a:p>
        </p:txBody>
      </p:sp>
    </p:spTree>
    <p:extLst>
      <p:ext uri="{BB962C8B-B14F-4D97-AF65-F5344CB8AC3E}">
        <p14:creationId xmlns:p14="http://schemas.microsoft.com/office/powerpoint/2010/main" val="17610475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6934200" y="5715000"/>
            <a:ext cx="1801218" cy="744948"/>
            <a:chOff x="5461358" y="4643564"/>
            <a:chExt cx="2969260" cy="1628139"/>
          </a:xfrm>
        </p:grpSpPr>
        <p:pic>
          <p:nvPicPr>
            <p:cNvPr id="8" name="object 8"/>
            <p:cNvPicPr/>
            <p:nvPr/>
          </p:nvPicPr>
          <p:blipFill>
            <a:blip r:embed="rId2" cstate="print"/>
            <a:stretch>
              <a:fillRect/>
            </a:stretch>
          </p:blipFill>
          <p:spPr>
            <a:xfrm>
              <a:off x="7199684" y="5973071"/>
              <a:ext cx="73736" cy="89803"/>
            </a:xfrm>
            <a:prstGeom prst="rect">
              <a:avLst/>
            </a:prstGeom>
          </p:spPr>
        </p:pic>
        <p:sp>
          <p:nvSpPr>
            <p:cNvPr id="9" name="object 9"/>
            <p:cNvSpPr/>
            <p:nvPr/>
          </p:nvSpPr>
          <p:spPr>
            <a:xfrm>
              <a:off x="7062178" y="5147995"/>
              <a:ext cx="1368425" cy="773430"/>
            </a:xfrm>
            <a:custGeom>
              <a:avLst/>
              <a:gdLst/>
              <a:ahLst/>
              <a:cxnLst/>
              <a:rect l="l" t="t" r="r" b="b"/>
              <a:pathLst>
                <a:path w="1368425" h="773429">
                  <a:moveTo>
                    <a:pt x="58978" y="738238"/>
                  </a:moveTo>
                  <a:lnTo>
                    <a:pt x="54965" y="724179"/>
                  </a:lnTo>
                  <a:lnTo>
                    <a:pt x="47256" y="712546"/>
                  </a:lnTo>
                  <a:lnTo>
                    <a:pt x="36957" y="704519"/>
                  </a:lnTo>
                  <a:lnTo>
                    <a:pt x="25120" y="701281"/>
                  </a:lnTo>
                  <a:lnTo>
                    <a:pt x="13995" y="703707"/>
                  </a:lnTo>
                  <a:lnTo>
                    <a:pt x="5549" y="711073"/>
                  </a:lnTo>
                  <a:lnTo>
                    <a:pt x="622" y="722261"/>
                  </a:lnTo>
                  <a:lnTo>
                    <a:pt x="0" y="736168"/>
                  </a:lnTo>
                  <a:lnTo>
                    <a:pt x="4013" y="750227"/>
                  </a:lnTo>
                  <a:lnTo>
                    <a:pt x="11722" y="761860"/>
                  </a:lnTo>
                  <a:lnTo>
                    <a:pt x="22021" y="769899"/>
                  </a:lnTo>
                  <a:lnTo>
                    <a:pt x="33845" y="773125"/>
                  </a:lnTo>
                  <a:lnTo>
                    <a:pt x="44983" y="770712"/>
                  </a:lnTo>
                  <a:lnTo>
                    <a:pt x="53428" y="763346"/>
                  </a:lnTo>
                  <a:lnTo>
                    <a:pt x="58356" y="752144"/>
                  </a:lnTo>
                  <a:lnTo>
                    <a:pt x="58978" y="738238"/>
                  </a:lnTo>
                  <a:close/>
                </a:path>
                <a:path w="1368425" h="773429">
                  <a:moveTo>
                    <a:pt x="1285748" y="19608"/>
                  </a:moveTo>
                  <a:lnTo>
                    <a:pt x="1279334" y="4165"/>
                  </a:lnTo>
                  <a:lnTo>
                    <a:pt x="1271917" y="0"/>
                  </a:lnTo>
                  <a:lnTo>
                    <a:pt x="1260055" y="5105"/>
                  </a:lnTo>
                  <a:lnTo>
                    <a:pt x="1257846" y="13449"/>
                  </a:lnTo>
                  <a:lnTo>
                    <a:pt x="1264259" y="28879"/>
                  </a:lnTo>
                  <a:lnTo>
                    <a:pt x="1271676" y="33058"/>
                  </a:lnTo>
                  <a:lnTo>
                    <a:pt x="1277607" y="30492"/>
                  </a:lnTo>
                  <a:lnTo>
                    <a:pt x="1283550" y="27940"/>
                  </a:lnTo>
                  <a:lnTo>
                    <a:pt x="1285748" y="19608"/>
                  </a:lnTo>
                  <a:close/>
                </a:path>
                <a:path w="1368425" h="773429">
                  <a:moveTo>
                    <a:pt x="1294523" y="141135"/>
                  </a:moveTo>
                  <a:lnTo>
                    <a:pt x="1286497" y="121843"/>
                  </a:lnTo>
                  <a:lnTo>
                    <a:pt x="1277226" y="116611"/>
                  </a:lnTo>
                  <a:lnTo>
                    <a:pt x="1262380" y="123012"/>
                  </a:lnTo>
                  <a:lnTo>
                    <a:pt x="1259624" y="133426"/>
                  </a:lnTo>
                  <a:lnTo>
                    <a:pt x="1267650" y="152730"/>
                  </a:lnTo>
                  <a:lnTo>
                    <a:pt x="1276921" y="157949"/>
                  </a:lnTo>
                  <a:lnTo>
                    <a:pt x="1284338" y="154749"/>
                  </a:lnTo>
                  <a:lnTo>
                    <a:pt x="1291755" y="151549"/>
                  </a:lnTo>
                  <a:lnTo>
                    <a:pt x="1294523" y="141135"/>
                  </a:lnTo>
                  <a:close/>
                </a:path>
                <a:path w="1368425" h="773429">
                  <a:moveTo>
                    <a:pt x="1368298" y="533209"/>
                  </a:moveTo>
                  <a:lnTo>
                    <a:pt x="1365732" y="524217"/>
                  </a:lnTo>
                  <a:lnTo>
                    <a:pt x="1360805" y="516763"/>
                  </a:lnTo>
                  <a:lnTo>
                    <a:pt x="1354201" y="511619"/>
                  </a:lnTo>
                  <a:lnTo>
                    <a:pt x="1346631" y="509562"/>
                  </a:lnTo>
                  <a:lnTo>
                    <a:pt x="1339507" y="511111"/>
                  </a:lnTo>
                  <a:lnTo>
                    <a:pt x="1334109" y="515823"/>
                  </a:lnTo>
                  <a:lnTo>
                    <a:pt x="1330947" y="522986"/>
                  </a:lnTo>
                  <a:lnTo>
                    <a:pt x="1330553" y="531876"/>
                  </a:lnTo>
                  <a:lnTo>
                    <a:pt x="1333119" y="540880"/>
                  </a:lnTo>
                  <a:lnTo>
                    <a:pt x="1338059" y="548335"/>
                  </a:lnTo>
                  <a:lnTo>
                    <a:pt x="1344650" y="553466"/>
                  </a:lnTo>
                  <a:lnTo>
                    <a:pt x="1352219" y="555536"/>
                  </a:lnTo>
                  <a:lnTo>
                    <a:pt x="1359344" y="553986"/>
                  </a:lnTo>
                  <a:lnTo>
                    <a:pt x="1364754" y="549275"/>
                  </a:lnTo>
                  <a:lnTo>
                    <a:pt x="1367904" y="542112"/>
                  </a:lnTo>
                  <a:lnTo>
                    <a:pt x="1368298" y="533209"/>
                  </a:lnTo>
                  <a:close/>
                </a:path>
              </a:pathLst>
            </a:custGeom>
            <a:solidFill>
              <a:srgbClr val="C9252B"/>
            </a:solidFill>
          </p:spPr>
          <p:txBody>
            <a:bodyPr wrap="square" lIns="0" tIns="0" rIns="0" bIns="0" rtlCol="0"/>
            <a:lstStyle/>
            <a:p>
              <a:endParaRPr/>
            </a:p>
          </p:txBody>
        </p:sp>
        <p:pic>
          <p:nvPicPr>
            <p:cNvPr id="10" name="object 10"/>
            <p:cNvPicPr/>
            <p:nvPr/>
          </p:nvPicPr>
          <p:blipFill>
            <a:blip r:embed="rId3" cstate="print"/>
            <a:stretch>
              <a:fillRect/>
            </a:stretch>
          </p:blipFill>
          <p:spPr>
            <a:xfrm>
              <a:off x="5461358" y="4643564"/>
              <a:ext cx="2918755" cy="1627665"/>
            </a:xfrm>
            <a:prstGeom prst="rect">
              <a:avLst/>
            </a:prstGeom>
          </p:spPr>
        </p:pic>
      </p:grpSp>
      <p:sp>
        <p:nvSpPr>
          <p:cNvPr id="11" name="object 11"/>
          <p:cNvSpPr txBox="1"/>
          <p:nvPr/>
        </p:nvSpPr>
        <p:spPr>
          <a:xfrm>
            <a:off x="7183796" y="5961476"/>
            <a:ext cx="1562499" cy="151323"/>
          </a:xfrm>
          <a:prstGeom prst="rect">
            <a:avLst/>
          </a:prstGeom>
        </p:spPr>
        <p:txBody>
          <a:bodyPr vert="horz" wrap="square" lIns="0" tIns="12700" rIns="0" bIns="0" rtlCol="0">
            <a:spAutoFit/>
          </a:bodyPr>
          <a:lstStyle/>
          <a:p>
            <a:pPr marL="12700">
              <a:lnSpc>
                <a:spcPct val="100000"/>
              </a:lnSpc>
              <a:spcBef>
                <a:spcPts val="100"/>
              </a:spcBef>
            </a:pPr>
            <a:r>
              <a:rPr sz="900" b="0">
                <a:solidFill>
                  <a:srgbClr val="C9252B"/>
                </a:solidFill>
                <a:latin typeface="Klavika Lt"/>
                <a:cs typeface="Klavika Lt"/>
              </a:rPr>
              <a:t>Forum</a:t>
            </a:r>
            <a:r>
              <a:rPr sz="900" b="0" spc="-55">
                <a:solidFill>
                  <a:srgbClr val="C9252B"/>
                </a:solidFill>
                <a:latin typeface="Klavika Lt"/>
                <a:cs typeface="Klavika Lt"/>
              </a:rPr>
              <a:t> </a:t>
            </a:r>
            <a:r>
              <a:rPr sz="900" b="0">
                <a:solidFill>
                  <a:srgbClr val="C9252B"/>
                </a:solidFill>
                <a:latin typeface="Klavika Lt"/>
                <a:cs typeface="Klavika Lt"/>
              </a:rPr>
              <a:t>zur</a:t>
            </a:r>
            <a:r>
              <a:rPr sz="900" b="0" spc="-50">
                <a:solidFill>
                  <a:srgbClr val="C9252B"/>
                </a:solidFill>
                <a:latin typeface="Klavika Lt"/>
                <a:cs typeface="Klavika Lt"/>
              </a:rPr>
              <a:t> </a:t>
            </a:r>
            <a:r>
              <a:rPr sz="900" b="0" spc="-10">
                <a:solidFill>
                  <a:srgbClr val="C9252B"/>
                </a:solidFill>
                <a:latin typeface="Klavika Lt"/>
                <a:cs typeface="Klavika Lt"/>
              </a:rPr>
              <a:t>Räte</a:t>
            </a:r>
            <a:r>
              <a:rPr lang="de-DE" sz="900" b="0" spc="-10">
                <a:solidFill>
                  <a:srgbClr val="C9252B"/>
                </a:solidFill>
                <a:latin typeface="Klavika Lt"/>
                <a:cs typeface="Klavika Lt"/>
              </a:rPr>
              <a:t>arbeit</a:t>
            </a:r>
            <a:endParaRPr sz="900">
              <a:latin typeface="Klavika Lt"/>
              <a:cs typeface="Klavika Lt"/>
            </a:endParaRPr>
          </a:p>
        </p:txBody>
      </p:sp>
      <p:sp>
        <p:nvSpPr>
          <p:cNvPr id="13" name="Textfeld 12">
            <a:extLst>
              <a:ext uri="{FF2B5EF4-FFF2-40B4-BE49-F238E27FC236}">
                <a16:creationId xmlns:a16="http://schemas.microsoft.com/office/drawing/2014/main" xmlns="" id="{C50D7E93-27C0-1947-8925-E29B1B840441}"/>
              </a:ext>
            </a:extLst>
          </p:cNvPr>
          <p:cNvSpPr txBox="1"/>
          <p:nvPr/>
        </p:nvSpPr>
        <p:spPr>
          <a:xfrm>
            <a:off x="745991" y="745201"/>
            <a:ext cx="7347637" cy="4093428"/>
          </a:xfrm>
          <a:prstGeom prst="rect">
            <a:avLst/>
          </a:prstGeom>
          <a:noFill/>
        </p:spPr>
        <p:txBody>
          <a:bodyPr wrap="square">
            <a:spAutoFit/>
          </a:bodyPr>
          <a:lstStyle/>
          <a:p>
            <a:r>
              <a:rPr lang="de-DE" sz="1800" b="1">
                <a:effectLst/>
                <a:latin typeface="Arial" panose="020B0604020202020204" pitchFamily="34" charset="0"/>
                <a:ea typeface="MS Mincho" panose="02020609040205080304" pitchFamily="49" charset="-128"/>
                <a:cs typeface="Times New Roman" panose="02020603050405020304" pitchFamily="18" charset="0"/>
              </a:rPr>
              <a:t>Praktische Hinweise zur Verwaltungsratswahl</a:t>
            </a:r>
            <a:endParaRPr lang="de-DE" sz="1800">
              <a:effectLst/>
              <a:latin typeface="Hoefler Text"/>
              <a:ea typeface="MS Mincho" panose="02020609040205080304" pitchFamily="49" charset="-128"/>
              <a:cs typeface="Times New Roman" panose="02020603050405020304" pitchFamily="18" charset="0"/>
            </a:endParaRPr>
          </a:p>
          <a:p>
            <a:pPr>
              <a:lnSpc>
                <a:spcPts val="1200"/>
              </a:lnSpc>
            </a:pPr>
            <a:endParaRPr lang="de-DE" spc="-19">
              <a:latin typeface="Gill Sans MT" panose="020B0502020104020203" pitchFamily="34" charset="0"/>
              <a:cs typeface="Gill Sans MT"/>
            </a:endParaRPr>
          </a:p>
          <a:p>
            <a:pPr marL="9525" marR="849630">
              <a:spcAft>
                <a:spcPts val="600"/>
              </a:spcAft>
            </a:pPr>
            <a:r>
              <a:rPr lang="de-DE" sz="1600">
                <a:latin typeface="Gill Sans MT" panose="020B0502020104020203" pitchFamily="34" charset="0"/>
                <a:cs typeface="Gill Sans MT"/>
              </a:rPr>
              <a:t>Mittwoch,</a:t>
            </a:r>
            <a:r>
              <a:rPr lang="de-DE" sz="1600" spc="11">
                <a:latin typeface="Gill Sans MT" panose="020B0502020104020203" pitchFamily="34" charset="0"/>
                <a:cs typeface="Gill Sans MT"/>
              </a:rPr>
              <a:t> </a:t>
            </a:r>
            <a:r>
              <a:rPr lang="de-DE" sz="1600" spc="-8">
                <a:latin typeface="Gill Sans MT" panose="020B0502020104020203" pitchFamily="34" charset="0"/>
                <a:cs typeface="Gill Sans MT"/>
              </a:rPr>
              <a:t>03. Januar 2024, 19.00 Uhr bis 21.00 Uhr</a:t>
            </a:r>
          </a:p>
          <a:p>
            <a:pPr fontAlgn="base"/>
            <a:endParaRPr lang="de-DE" sz="1600">
              <a:solidFill>
                <a:srgbClr val="000000"/>
              </a:solidFill>
              <a:effectLst/>
              <a:latin typeface="Gill Sans MT" panose="020B0502020104020203" pitchFamily="34" charset="0"/>
            </a:endParaRPr>
          </a:p>
          <a:p>
            <a:r>
              <a:rPr lang="de-DE" sz="1600">
                <a:effectLst/>
                <a:latin typeface="Arial" panose="020B0604020202020204" pitchFamily="34" charset="0"/>
                <a:ea typeface="Arial" panose="020B0604020202020204" pitchFamily="34" charset="0"/>
                <a:cs typeface="Times New Roman" panose="02020603050405020304" pitchFamily="18" charset="0"/>
              </a:rPr>
              <a:t>U.a. Hinweise zu den</a:t>
            </a:r>
          </a:p>
          <a:p>
            <a:endParaRPr lang="de-DE" sz="1600">
              <a:effectLst/>
              <a:latin typeface="Arial" panose="020B0604020202020204" pitchFamily="34" charset="0"/>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r>
              <a:rPr lang="de-DE" sz="1600">
                <a:latin typeface="Arial" panose="020B0604020202020204" pitchFamily="34" charset="0"/>
                <a:ea typeface="MS Mincho" panose="02020609040205080304" pitchFamily="49" charset="-128"/>
                <a:cs typeface="Times New Roman" panose="02020603050405020304" pitchFamily="18" charset="0"/>
              </a:rPr>
              <a:t>Rechtsgrundlagen</a:t>
            </a:r>
          </a:p>
          <a:p>
            <a:pPr marL="285750" indent="-285750">
              <a:buFont typeface="Arial" panose="020B0604020202020204" pitchFamily="34" charset="0"/>
              <a:buChar char="•"/>
            </a:pPr>
            <a:r>
              <a:rPr lang="de-DE" sz="1600">
                <a:effectLst/>
                <a:latin typeface="Arial" panose="020B0604020202020204" pitchFamily="34" charset="0"/>
                <a:ea typeface="MS Mincho" panose="02020609040205080304" pitchFamily="49" charset="-128"/>
                <a:cs typeface="Times New Roman" panose="02020603050405020304" pitchFamily="18" charset="0"/>
              </a:rPr>
              <a:t>zur Wahlvorbereitung</a:t>
            </a:r>
          </a:p>
          <a:p>
            <a:pPr marL="285750" indent="-285750">
              <a:buFont typeface="Arial" panose="020B0604020202020204" pitchFamily="34" charset="0"/>
              <a:buChar char="•"/>
            </a:pPr>
            <a:r>
              <a:rPr lang="de-DE" sz="1600">
                <a:latin typeface="Arial" panose="020B0604020202020204" pitchFamily="34" charset="0"/>
                <a:ea typeface="MS Mincho" panose="02020609040205080304" pitchFamily="49" charset="-128"/>
                <a:cs typeface="Times New Roman" panose="02020603050405020304" pitchFamily="18" charset="0"/>
              </a:rPr>
              <a:t>zur Wahldurchführung</a:t>
            </a:r>
            <a:endParaRPr lang="de-DE" sz="1600">
              <a:effectLst/>
              <a:latin typeface="Hoefler Text"/>
              <a:ea typeface="MS Mincho" panose="02020609040205080304" pitchFamily="49" charset="-128"/>
              <a:cs typeface="Times New Roman" panose="02020603050405020304" pitchFamily="18" charset="0"/>
            </a:endParaRPr>
          </a:p>
          <a:p>
            <a:pPr fontAlgn="base">
              <a:spcBef>
                <a:spcPts val="600"/>
              </a:spcBef>
            </a:pPr>
            <a:endParaRPr lang="de-DE" sz="1600" b="1">
              <a:solidFill>
                <a:srgbClr val="000000"/>
              </a:solidFill>
              <a:effectLst/>
              <a:latin typeface="Gill Sans MT" panose="020B0502020104020203" pitchFamily="34" charset="0"/>
            </a:endParaRPr>
          </a:p>
          <a:p>
            <a:pPr fontAlgn="base">
              <a:spcBef>
                <a:spcPts val="600"/>
              </a:spcBef>
            </a:pPr>
            <a:r>
              <a:rPr lang="de-DE" sz="1600" b="1">
                <a:solidFill>
                  <a:srgbClr val="000000"/>
                </a:solidFill>
                <a:effectLst/>
                <a:latin typeface="Gill Sans MT" panose="020B0502020104020203" pitchFamily="34" charset="0"/>
              </a:rPr>
              <a:t>Referent</a:t>
            </a:r>
          </a:p>
          <a:p>
            <a:pPr fontAlgn="base"/>
            <a:r>
              <a:rPr lang="de-DE" sz="1600">
                <a:solidFill>
                  <a:srgbClr val="000000"/>
                </a:solidFill>
                <a:effectLst/>
                <a:latin typeface="Gill Sans MT" panose="020B0502020104020203" pitchFamily="34" charset="0"/>
              </a:rPr>
              <a:t>Dr. Thomas P. Fößel, Referent für die Pastoralen Räte in der Pfarrei und im Pastoralen Raum im Bistum Trier</a:t>
            </a:r>
          </a:p>
          <a:p>
            <a:pPr fontAlgn="base">
              <a:spcBef>
                <a:spcPts val="600"/>
              </a:spcBef>
            </a:pPr>
            <a:r>
              <a:rPr lang="de-DE">
                <a:solidFill>
                  <a:srgbClr val="000000"/>
                </a:solidFill>
                <a:effectLst/>
                <a:latin typeface="Gill Sans MT" panose="020B0502020104020203" pitchFamily="34" charset="0"/>
              </a:rPr>
              <a:t/>
            </a:r>
            <a:br>
              <a:rPr lang="de-DE">
                <a:solidFill>
                  <a:srgbClr val="000000"/>
                </a:solidFill>
                <a:effectLst/>
                <a:latin typeface="Gill Sans MT" panose="020B0502020104020203" pitchFamily="34" charset="0"/>
              </a:rPr>
            </a:br>
            <a:endParaRPr lang="de-DE">
              <a:effectLst/>
              <a:latin typeface="Gill Sans MT" panose="020B0502020104020203" pitchFamily="34" charset="0"/>
              <a:ea typeface="Times New Roman" panose="02020603050405020304" pitchFamily="18" charset="0"/>
            </a:endParaRPr>
          </a:p>
        </p:txBody>
      </p:sp>
    </p:spTree>
    <p:extLst>
      <p:ext uri="{BB962C8B-B14F-4D97-AF65-F5344CB8AC3E}">
        <p14:creationId xmlns:p14="http://schemas.microsoft.com/office/powerpoint/2010/main" val="23627113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6934200" y="5715000"/>
            <a:ext cx="1801218" cy="744948"/>
            <a:chOff x="5461358" y="4643564"/>
            <a:chExt cx="2969260" cy="1628139"/>
          </a:xfrm>
        </p:grpSpPr>
        <p:pic>
          <p:nvPicPr>
            <p:cNvPr id="8" name="object 8"/>
            <p:cNvPicPr/>
            <p:nvPr/>
          </p:nvPicPr>
          <p:blipFill>
            <a:blip r:embed="rId2" cstate="print"/>
            <a:stretch>
              <a:fillRect/>
            </a:stretch>
          </p:blipFill>
          <p:spPr>
            <a:xfrm>
              <a:off x="7199684" y="5973071"/>
              <a:ext cx="73736" cy="89803"/>
            </a:xfrm>
            <a:prstGeom prst="rect">
              <a:avLst/>
            </a:prstGeom>
          </p:spPr>
        </p:pic>
        <p:sp>
          <p:nvSpPr>
            <p:cNvPr id="9" name="object 9"/>
            <p:cNvSpPr/>
            <p:nvPr/>
          </p:nvSpPr>
          <p:spPr>
            <a:xfrm>
              <a:off x="7062178" y="5147995"/>
              <a:ext cx="1368425" cy="773430"/>
            </a:xfrm>
            <a:custGeom>
              <a:avLst/>
              <a:gdLst/>
              <a:ahLst/>
              <a:cxnLst/>
              <a:rect l="l" t="t" r="r" b="b"/>
              <a:pathLst>
                <a:path w="1368425" h="773429">
                  <a:moveTo>
                    <a:pt x="58978" y="738238"/>
                  </a:moveTo>
                  <a:lnTo>
                    <a:pt x="54965" y="724179"/>
                  </a:lnTo>
                  <a:lnTo>
                    <a:pt x="47256" y="712546"/>
                  </a:lnTo>
                  <a:lnTo>
                    <a:pt x="36957" y="704519"/>
                  </a:lnTo>
                  <a:lnTo>
                    <a:pt x="25120" y="701281"/>
                  </a:lnTo>
                  <a:lnTo>
                    <a:pt x="13995" y="703707"/>
                  </a:lnTo>
                  <a:lnTo>
                    <a:pt x="5549" y="711073"/>
                  </a:lnTo>
                  <a:lnTo>
                    <a:pt x="622" y="722261"/>
                  </a:lnTo>
                  <a:lnTo>
                    <a:pt x="0" y="736168"/>
                  </a:lnTo>
                  <a:lnTo>
                    <a:pt x="4013" y="750227"/>
                  </a:lnTo>
                  <a:lnTo>
                    <a:pt x="11722" y="761860"/>
                  </a:lnTo>
                  <a:lnTo>
                    <a:pt x="22021" y="769899"/>
                  </a:lnTo>
                  <a:lnTo>
                    <a:pt x="33845" y="773125"/>
                  </a:lnTo>
                  <a:lnTo>
                    <a:pt x="44983" y="770712"/>
                  </a:lnTo>
                  <a:lnTo>
                    <a:pt x="53428" y="763346"/>
                  </a:lnTo>
                  <a:lnTo>
                    <a:pt x="58356" y="752144"/>
                  </a:lnTo>
                  <a:lnTo>
                    <a:pt x="58978" y="738238"/>
                  </a:lnTo>
                  <a:close/>
                </a:path>
                <a:path w="1368425" h="773429">
                  <a:moveTo>
                    <a:pt x="1285748" y="19608"/>
                  </a:moveTo>
                  <a:lnTo>
                    <a:pt x="1279334" y="4165"/>
                  </a:lnTo>
                  <a:lnTo>
                    <a:pt x="1271917" y="0"/>
                  </a:lnTo>
                  <a:lnTo>
                    <a:pt x="1260055" y="5105"/>
                  </a:lnTo>
                  <a:lnTo>
                    <a:pt x="1257846" y="13449"/>
                  </a:lnTo>
                  <a:lnTo>
                    <a:pt x="1264259" y="28879"/>
                  </a:lnTo>
                  <a:lnTo>
                    <a:pt x="1271676" y="33058"/>
                  </a:lnTo>
                  <a:lnTo>
                    <a:pt x="1277607" y="30492"/>
                  </a:lnTo>
                  <a:lnTo>
                    <a:pt x="1283550" y="27940"/>
                  </a:lnTo>
                  <a:lnTo>
                    <a:pt x="1285748" y="19608"/>
                  </a:lnTo>
                  <a:close/>
                </a:path>
                <a:path w="1368425" h="773429">
                  <a:moveTo>
                    <a:pt x="1294523" y="141135"/>
                  </a:moveTo>
                  <a:lnTo>
                    <a:pt x="1286497" y="121843"/>
                  </a:lnTo>
                  <a:lnTo>
                    <a:pt x="1277226" y="116611"/>
                  </a:lnTo>
                  <a:lnTo>
                    <a:pt x="1262380" y="123012"/>
                  </a:lnTo>
                  <a:lnTo>
                    <a:pt x="1259624" y="133426"/>
                  </a:lnTo>
                  <a:lnTo>
                    <a:pt x="1267650" y="152730"/>
                  </a:lnTo>
                  <a:lnTo>
                    <a:pt x="1276921" y="157949"/>
                  </a:lnTo>
                  <a:lnTo>
                    <a:pt x="1284338" y="154749"/>
                  </a:lnTo>
                  <a:lnTo>
                    <a:pt x="1291755" y="151549"/>
                  </a:lnTo>
                  <a:lnTo>
                    <a:pt x="1294523" y="141135"/>
                  </a:lnTo>
                  <a:close/>
                </a:path>
                <a:path w="1368425" h="773429">
                  <a:moveTo>
                    <a:pt x="1368298" y="533209"/>
                  </a:moveTo>
                  <a:lnTo>
                    <a:pt x="1365732" y="524217"/>
                  </a:lnTo>
                  <a:lnTo>
                    <a:pt x="1360805" y="516763"/>
                  </a:lnTo>
                  <a:lnTo>
                    <a:pt x="1354201" y="511619"/>
                  </a:lnTo>
                  <a:lnTo>
                    <a:pt x="1346631" y="509562"/>
                  </a:lnTo>
                  <a:lnTo>
                    <a:pt x="1339507" y="511111"/>
                  </a:lnTo>
                  <a:lnTo>
                    <a:pt x="1334109" y="515823"/>
                  </a:lnTo>
                  <a:lnTo>
                    <a:pt x="1330947" y="522986"/>
                  </a:lnTo>
                  <a:lnTo>
                    <a:pt x="1330553" y="531876"/>
                  </a:lnTo>
                  <a:lnTo>
                    <a:pt x="1333119" y="540880"/>
                  </a:lnTo>
                  <a:lnTo>
                    <a:pt x="1338059" y="548335"/>
                  </a:lnTo>
                  <a:lnTo>
                    <a:pt x="1344650" y="553466"/>
                  </a:lnTo>
                  <a:lnTo>
                    <a:pt x="1352219" y="555536"/>
                  </a:lnTo>
                  <a:lnTo>
                    <a:pt x="1359344" y="553986"/>
                  </a:lnTo>
                  <a:lnTo>
                    <a:pt x="1364754" y="549275"/>
                  </a:lnTo>
                  <a:lnTo>
                    <a:pt x="1367904" y="542112"/>
                  </a:lnTo>
                  <a:lnTo>
                    <a:pt x="1368298" y="533209"/>
                  </a:lnTo>
                  <a:close/>
                </a:path>
              </a:pathLst>
            </a:custGeom>
            <a:solidFill>
              <a:srgbClr val="C9252B"/>
            </a:solidFill>
          </p:spPr>
          <p:txBody>
            <a:bodyPr wrap="square" lIns="0" tIns="0" rIns="0" bIns="0" rtlCol="0"/>
            <a:lstStyle/>
            <a:p>
              <a:endParaRPr/>
            </a:p>
          </p:txBody>
        </p:sp>
        <p:pic>
          <p:nvPicPr>
            <p:cNvPr id="10" name="object 10"/>
            <p:cNvPicPr/>
            <p:nvPr/>
          </p:nvPicPr>
          <p:blipFill>
            <a:blip r:embed="rId3" cstate="print"/>
            <a:stretch>
              <a:fillRect/>
            </a:stretch>
          </p:blipFill>
          <p:spPr>
            <a:xfrm>
              <a:off x="5461358" y="4643564"/>
              <a:ext cx="2918755" cy="1627665"/>
            </a:xfrm>
            <a:prstGeom prst="rect">
              <a:avLst/>
            </a:prstGeom>
          </p:spPr>
        </p:pic>
      </p:grpSp>
      <p:sp>
        <p:nvSpPr>
          <p:cNvPr id="11" name="object 11"/>
          <p:cNvSpPr txBox="1"/>
          <p:nvPr/>
        </p:nvSpPr>
        <p:spPr>
          <a:xfrm>
            <a:off x="7183796" y="5961476"/>
            <a:ext cx="1562499" cy="151323"/>
          </a:xfrm>
          <a:prstGeom prst="rect">
            <a:avLst/>
          </a:prstGeom>
        </p:spPr>
        <p:txBody>
          <a:bodyPr vert="horz" wrap="square" lIns="0" tIns="12700" rIns="0" bIns="0" rtlCol="0">
            <a:spAutoFit/>
          </a:bodyPr>
          <a:lstStyle/>
          <a:p>
            <a:pPr marL="12700">
              <a:lnSpc>
                <a:spcPct val="100000"/>
              </a:lnSpc>
              <a:spcBef>
                <a:spcPts val="100"/>
              </a:spcBef>
            </a:pPr>
            <a:r>
              <a:rPr sz="900" b="0">
                <a:solidFill>
                  <a:srgbClr val="C9252B"/>
                </a:solidFill>
                <a:latin typeface="Klavika Lt"/>
                <a:cs typeface="Klavika Lt"/>
              </a:rPr>
              <a:t>Forum</a:t>
            </a:r>
            <a:r>
              <a:rPr sz="900" b="0" spc="-55">
                <a:solidFill>
                  <a:srgbClr val="C9252B"/>
                </a:solidFill>
                <a:latin typeface="Klavika Lt"/>
                <a:cs typeface="Klavika Lt"/>
              </a:rPr>
              <a:t> </a:t>
            </a:r>
            <a:r>
              <a:rPr sz="900" b="0">
                <a:solidFill>
                  <a:srgbClr val="C9252B"/>
                </a:solidFill>
                <a:latin typeface="Klavika Lt"/>
                <a:cs typeface="Klavika Lt"/>
              </a:rPr>
              <a:t>zur</a:t>
            </a:r>
            <a:r>
              <a:rPr sz="900" b="0" spc="-50">
                <a:solidFill>
                  <a:srgbClr val="C9252B"/>
                </a:solidFill>
                <a:latin typeface="Klavika Lt"/>
                <a:cs typeface="Klavika Lt"/>
              </a:rPr>
              <a:t> </a:t>
            </a:r>
            <a:r>
              <a:rPr sz="900" b="0" spc="-10">
                <a:solidFill>
                  <a:srgbClr val="C9252B"/>
                </a:solidFill>
                <a:latin typeface="Klavika Lt"/>
                <a:cs typeface="Klavika Lt"/>
              </a:rPr>
              <a:t>Räte</a:t>
            </a:r>
            <a:r>
              <a:rPr lang="de-DE" sz="900" b="0" spc="-10">
                <a:solidFill>
                  <a:srgbClr val="C9252B"/>
                </a:solidFill>
                <a:latin typeface="Klavika Lt"/>
                <a:cs typeface="Klavika Lt"/>
              </a:rPr>
              <a:t>arbeit</a:t>
            </a:r>
            <a:endParaRPr sz="900">
              <a:latin typeface="Klavika Lt"/>
              <a:cs typeface="Klavika Lt"/>
            </a:endParaRPr>
          </a:p>
        </p:txBody>
      </p:sp>
      <p:sp>
        <p:nvSpPr>
          <p:cNvPr id="13" name="Textfeld 12">
            <a:extLst>
              <a:ext uri="{FF2B5EF4-FFF2-40B4-BE49-F238E27FC236}">
                <a16:creationId xmlns:a16="http://schemas.microsoft.com/office/drawing/2014/main" xmlns="" id="{C50D7E93-27C0-1947-8925-E29B1B840441}"/>
              </a:ext>
            </a:extLst>
          </p:cNvPr>
          <p:cNvSpPr txBox="1"/>
          <p:nvPr/>
        </p:nvSpPr>
        <p:spPr>
          <a:xfrm>
            <a:off x="1371600" y="1219200"/>
            <a:ext cx="6778487" cy="3677930"/>
          </a:xfrm>
          <a:prstGeom prst="rect">
            <a:avLst/>
          </a:prstGeom>
          <a:noFill/>
        </p:spPr>
        <p:txBody>
          <a:bodyPr wrap="square">
            <a:spAutoFit/>
          </a:bodyPr>
          <a:lstStyle/>
          <a:p>
            <a:r>
              <a:rPr lang="de-DE" sz="2000" b="1">
                <a:effectLst/>
                <a:latin typeface="Arial" panose="020B0604020202020204" pitchFamily="34" charset="0"/>
                <a:ea typeface="MS Mincho" panose="02020609040205080304" pitchFamily="49" charset="-128"/>
                <a:cs typeface="Times New Roman" panose="02020603050405020304" pitchFamily="18" charset="0"/>
              </a:rPr>
              <a:t>Informationen zu den Verwaltungsratswahlen</a:t>
            </a:r>
            <a:endParaRPr lang="de-DE" sz="2000">
              <a:effectLst/>
              <a:latin typeface="Hoefler Text"/>
              <a:ea typeface="MS Mincho" panose="02020609040205080304" pitchFamily="49" charset="-128"/>
              <a:cs typeface="Times New Roman" panose="02020603050405020304" pitchFamily="18" charset="0"/>
            </a:endParaRPr>
          </a:p>
          <a:p>
            <a:pPr marL="9525" marR="849630">
              <a:spcAft>
                <a:spcPts val="600"/>
              </a:spcAft>
            </a:pPr>
            <a:endParaRPr lang="de-DE" sz="2000">
              <a:latin typeface="Gill Sans MT" panose="020B0502020104020203" pitchFamily="34" charset="0"/>
              <a:cs typeface="Gill Sans MT"/>
            </a:endParaRPr>
          </a:p>
          <a:p>
            <a:pPr marL="9525" marR="849630">
              <a:spcAft>
                <a:spcPts val="600"/>
              </a:spcAft>
            </a:pPr>
            <a:r>
              <a:rPr lang="de-DE" sz="2000">
                <a:latin typeface="Gill Sans MT" panose="020B0502020104020203" pitchFamily="34" charset="0"/>
                <a:cs typeface="Gill Sans MT"/>
              </a:rPr>
              <a:t>Mittwoch,</a:t>
            </a:r>
            <a:r>
              <a:rPr lang="de-DE" sz="2000" spc="11">
                <a:latin typeface="Gill Sans MT" panose="020B0502020104020203" pitchFamily="34" charset="0"/>
                <a:cs typeface="Gill Sans MT"/>
              </a:rPr>
              <a:t> </a:t>
            </a:r>
            <a:r>
              <a:rPr lang="de-DE" sz="2000" spc="-8">
                <a:latin typeface="Gill Sans MT" panose="020B0502020104020203" pitchFamily="34" charset="0"/>
                <a:cs typeface="Gill Sans MT"/>
              </a:rPr>
              <a:t>03. Januar 2024</a:t>
            </a:r>
          </a:p>
          <a:p>
            <a:pPr marL="9525" marR="849630">
              <a:spcAft>
                <a:spcPts val="600"/>
              </a:spcAft>
            </a:pPr>
            <a:r>
              <a:rPr lang="de-DE" sz="2000" spc="-8">
                <a:latin typeface="Gill Sans MT" panose="020B0502020104020203" pitchFamily="34" charset="0"/>
                <a:cs typeface="Gill Sans MT"/>
              </a:rPr>
              <a:t>19.00 Uhr – max. 21.00 Uhr</a:t>
            </a:r>
          </a:p>
          <a:p>
            <a:pPr algn="l">
              <a:spcAft>
                <a:spcPts val="600"/>
              </a:spcAft>
            </a:pPr>
            <a:endParaRPr lang="de-DE" sz="1900">
              <a:solidFill>
                <a:srgbClr val="222222"/>
              </a:solidFill>
              <a:latin typeface="Gill Sans MT" panose="020B0502020104020203" pitchFamily="34" charset="0"/>
            </a:endParaRPr>
          </a:p>
          <a:p>
            <a:pPr algn="l">
              <a:spcAft>
                <a:spcPts val="600"/>
              </a:spcAft>
            </a:pPr>
            <a:r>
              <a:rPr lang="de-DE" sz="1900">
                <a:solidFill>
                  <a:srgbClr val="222222"/>
                </a:solidFill>
                <a:latin typeface="Gill Sans MT" panose="020B0502020104020203" pitchFamily="34" charset="0"/>
              </a:rPr>
              <a:t>Link für Videoanruf: </a:t>
            </a:r>
          </a:p>
          <a:p>
            <a:pPr algn="l">
              <a:spcAft>
                <a:spcPts val="600"/>
              </a:spcAft>
            </a:pPr>
            <a:r>
              <a:rPr lang="de-DE" sz="2000" b="0" i="0" u="sng">
                <a:solidFill>
                  <a:schemeClr val="tx1"/>
                </a:solidFill>
                <a:effectLst/>
                <a:latin typeface="Almaden Sans"/>
                <a:hlinkClick r:id="rId4">
                  <a:extLst>
                    <a:ext uri="{A12FA001-AC4F-418D-AE19-62706E023703}">
                      <ahyp:hlinkClr xmlns:ahyp="http://schemas.microsoft.com/office/drawing/2018/hyperlinkcolor" xmlns="" val="tx"/>
                    </a:ext>
                  </a:extLst>
                </a:hlinkClick>
              </a:rPr>
              <a:t>https://us06web.zoom.us/j/89814044063?pwd=cGdYcEpUelBES09GRXVZR05vb0VBZz09</a:t>
            </a:r>
            <a:r>
              <a:rPr lang="de-DE" sz="2000" b="0" i="0" u="sng">
                <a:solidFill>
                  <a:schemeClr val="tx1"/>
                </a:solidFill>
                <a:effectLst/>
                <a:latin typeface="Almaden Sans"/>
              </a:rPr>
              <a:t> </a:t>
            </a:r>
          </a:p>
          <a:p>
            <a:pPr algn="l">
              <a:spcAft>
                <a:spcPts val="600"/>
              </a:spcAft>
            </a:pPr>
            <a:endParaRPr lang="de-DE" sz="2000" b="0" i="0" u="sng">
              <a:solidFill>
                <a:schemeClr val="tx1"/>
              </a:solidFill>
              <a:effectLst/>
              <a:latin typeface="Almaden Sans"/>
            </a:endParaRPr>
          </a:p>
          <a:p>
            <a:pPr algn="l">
              <a:spcAft>
                <a:spcPts val="600"/>
              </a:spcAft>
            </a:pPr>
            <a:r>
              <a:rPr lang="de-DE" sz="2000">
                <a:solidFill>
                  <a:schemeClr val="tx1"/>
                </a:solidFill>
                <a:latin typeface="Almaden Sans"/>
              </a:rPr>
              <a:t>Herzliche Einladung - Eine Anmeldung ist nicht erforderlich!</a:t>
            </a:r>
            <a:endParaRPr lang="de-DE" sz="1900">
              <a:solidFill>
                <a:srgbClr val="222222"/>
              </a:solidFill>
              <a:latin typeface="Gill Sans MT" panose="020B0502020104020203" pitchFamily="34" charset="0"/>
            </a:endParaRPr>
          </a:p>
        </p:txBody>
      </p:sp>
    </p:spTree>
    <p:extLst>
      <p:ext uri="{BB962C8B-B14F-4D97-AF65-F5344CB8AC3E}">
        <p14:creationId xmlns:p14="http://schemas.microsoft.com/office/powerpoint/2010/main" val="33743672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6934200" y="5715000"/>
            <a:ext cx="1801218" cy="744948"/>
            <a:chOff x="5461358" y="4643564"/>
            <a:chExt cx="2969260" cy="1628139"/>
          </a:xfrm>
        </p:grpSpPr>
        <p:pic>
          <p:nvPicPr>
            <p:cNvPr id="8" name="object 8"/>
            <p:cNvPicPr/>
            <p:nvPr/>
          </p:nvPicPr>
          <p:blipFill>
            <a:blip r:embed="rId2" cstate="print"/>
            <a:stretch>
              <a:fillRect/>
            </a:stretch>
          </p:blipFill>
          <p:spPr>
            <a:xfrm>
              <a:off x="7199684" y="5973071"/>
              <a:ext cx="73736" cy="89803"/>
            </a:xfrm>
            <a:prstGeom prst="rect">
              <a:avLst/>
            </a:prstGeom>
          </p:spPr>
        </p:pic>
        <p:sp>
          <p:nvSpPr>
            <p:cNvPr id="9" name="object 9"/>
            <p:cNvSpPr/>
            <p:nvPr/>
          </p:nvSpPr>
          <p:spPr>
            <a:xfrm>
              <a:off x="7062178" y="5147995"/>
              <a:ext cx="1368425" cy="773430"/>
            </a:xfrm>
            <a:custGeom>
              <a:avLst/>
              <a:gdLst/>
              <a:ahLst/>
              <a:cxnLst/>
              <a:rect l="l" t="t" r="r" b="b"/>
              <a:pathLst>
                <a:path w="1368425" h="773429">
                  <a:moveTo>
                    <a:pt x="58978" y="738238"/>
                  </a:moveTo>
                  <a:lnTo>
                    <a:pt x="54965" y="724179"/>
                  </a:lnTo>
                  <a:lnTo>
                    <a:pt x="47256" y="712546"/>
                  </a:lnTo>
                  <a:lnTo>
                    <a:pt x="36957" y="704519"/>
                  </a:lnTo>
                  <a:lnTo>
                    <a:pt x="25120" y="701281"/>
                  </a:lnTo>
                  <a:lnTo>
                    <a:pt x="13995" y="703707"/>
                  </a:lnTo>
                  <a:lnTo>
                    <a:pt x="5549" y="711073"/>
                  </a:lnTo>
                  <a:lnTo>
                    <a:pt x="622" y="722261"/>
                  </a:lnTo>
                  <a:lnTo>
                    <a:pt x="0" y="736168"/>
                  </a:lnTo>
                  <a:lnTo>
                    <a:pt x="4013" y="750227"/>
                  </a:lnTo>
                  <a:lnTo>
                    <a:pt x="11722" y="761860"/>
                  </a:lnTo>
                  <a:lnTo>
                    <a:pt x="22021" y="769899"/>
                  </a:lnTo>
                  <a:lnTo>
                    <a:pt x="33845" y="773125"/>
                  </a:lnTo>
                  <a:lnTo>
                    <a:pt x="44983" y="770712"/>
                  </a:lnTo>
                  <a:lnTo>
                    <a:pt x="53428" y="763346"/>
                  </a:lnTo>
                  <a:lnTo>
                    <a:pt x="58356" y="752144"/>
                  </a:lnTo>
                  <a:lnTo>
                    <a:pt x="58978" y="738238"/>
                  </a:lnTo>
                  <a:close/>
                </a:path>
                <a:path w="1368425" h="773429">
                  <a:moveTo>
                    <a:pt x="1285748" y="19608"/>
                  </a:moveTo>
                  <a:lnTo>
                    <a:pt x="1279334" y="4165"/>
                  </a:lnTo>
                  <a:lnTo>
                    <a:pt x="1271917" y="0"/>
                  </a:lnTo>
                  <a:lnTo>
                    <a:pt x="1260055" y="5105"/>
                  </a:lnTo>
                  <a:lnTo>
                    <a:pt x="1257846" y="13449"/>
                  </a:lnTo>
                  <a:lnTo>
                    <a:pt x="1264259" y="28879"/>
                  </a:lnTo>
                  <a:lnTo>
                    <a:pt x="1271676" y="33058"/>
                  </a:lnTo>
                  <a:lnTo>
                    <a:pt x="1277607" y="30492"/>
                  </a:lnTo>
                  <a:lnTo>
                    <a:pt x="1283550" y="27940"/>
                  </a:lnTo>
                  <a:lnTo>
                    <a:pt x="1285748" y="19608"/>
                  </a:lnTo>
                  <a:close/>
                </a:path>
                <a:path w="1368425" h="773429">
                  <a:moveTo>
                    <a:pt x="1294523" y="141135"/>
                  </a:moveTo>
                  <a:lnTo>
                    <a:pt x="1286497" y="121843"/>
                  </a:lnTo>
                  <a:lnTo>
                    <a:pt x="1277226" y="116611"/>
                  </a:lnTo>
                  <a:lnTo>
                    <a:pt x="1262380" y="123012"/>
                  </a:lnTo>
                  <a:lnTo>
                    <a:pt x="1259624" y="133426"/>
                  </a:lnTo>
                  <a:lnTo>
                    <a:pt x="1267650" y="152730"/>
                  </a:lnTo>
                  <a:lnTo>
                    <a:pt x="1276921" y="157949"/>
                  </a:lnTo>
                  <a:lnTo>
                    <a:pt x="1284338" y="154749"/>
                  </a:lnTo>
                  <a:lnTo>
                    <a:pt x="1291755" y="151549"/>
                  </a:lnTo>
                  <a:lnTo>
                    <a:pt x="1294523" y="141135"/>
                  </a:lnTo>
                  <a:close/>
                </a:path>
                <a:path w="1368425" h="773429">
                  <a:moveTo>
                    <a:pt x="1368298" y="533209"/>
                  </a:moveTo>
                  <a:lnTo>
                    <a:pt x="1365732" y="524217"/>
                  </a:lnTo>
                  <a:lnTo>
                    <a:pt x="1360805" y="516763"/>
                  </a:lnTo>
                  <a:lnTo>
                    <a:pt x="1354201" y="511619"/>
                  </a:lnTo>
                  <a:lnTo>
                    <a:pt x="1346631" y="509562"/>
                  </a:lnTo>
                  <a:lnTo>
                    <a:pt x="1339507" y="511111"/>
                  </a:lnTo>
                  <a:lnTo>
                    <a:pt x="1334109" y="515823"/>
                  </a:lnTo>
                  <a:lnTo>
                    <a:pt x="1330947" y="522986"/>
                  </a:lnTo>
                  <a:lnTo>
                    <a:pt x="1330553" y="531876"/>
                  </a:lnTo>
                  <a:lnTo>
                    <a:pt x="1333119" y="540880"/>
                  </a:lnTo>
                  <a:lnTo>
                    <a:pt x="1338059" y="548335"/>
                  </a:lnTo>
                  <a:lnTo>
                    <a:pt x="1344650" y="553466"/>
                  </a:lnTo>
                  <a:lnTo>
                    <a:pt x="1352219" y="555536"/>
                  </a:lnTo>
                  <a:lnTo>
                    <a:pt x="1359344" y="553986"/>
                  </a:lnTo>
                  <a:lnTo>
                    <a:pt x="1364754" y="549275"/>
                  </a:lnTo>
                  <a:lnTo>
                    <a:pt x="1367904" y="542112"/>
                  </a:lnTo>
                  <a:lnTo>
                    <a:pt x="1368298" y="533209"/>
                  </a:lnTo>
                  <a:close/>
                </a:path>
              </a:pathLst>
            </a:custGeom>
            <a:solidFill>
              <a:srgbClr val="C9252B"/>
            </a:solidFill>
          </p:spPr>
          <p:txBody>
            <a:bodyPr wrap="square" lIns="0" tIns="0" rIns="0" bIns="0" rtlCol="0"/>
            <a:lstStyle/>
            <a:p>
              <a:endParaRPr/>
            </a:p>
          </p:txBody>
        </p:sp>
        <p:pic>
          <p:nvPicPr>
            <p:cNvPr id="10" name="object 10"/>
            <p:cNvPicPr/>
            <p:nvPr/>
          </p:nvPicPr>
          <p:blipFill>
            <a:blip r:embed="rId3" cstate="print"/>
            <a:stretch>
              <a:fillRect/>
            </a:stretch>
          </p:blipFill>
          <p:spPr>
            <a:xfrm>
              <a:off x="5461358" y="4643564"/>
              <a:ext cx="2918755" cy="1627665"/>
            </a:xfrm>
            <a:prstGeom prst="rect">
              <a:avLst/>
            </a:prstGeom>
          </p:spPr>
        </p:pic>
      </p:grpSp>
      <p:sp>
        <p:nvSpPr>
          <p:cNvPr id="11" name="object 11"/>
          <p:cNvSpPr txBox="1"/>
          <p:nvPr/>
        </p:nvSpPr>
        <p:spPr>
          <a:xfrm>
            <a:off x="7183796" y="5961476"/>
            <a:ext cx="1562499" cy="151323"/>
          </a:xfrm>
          <a:prstGeom prst="rect">
            <a:avLst/>
          </a:prstGeom>
        </p:spPr>
        <p:txBody>
          <a:bodyPr vert="horz" wrap="square" lIns="0" tIns="12700" rIns="0" bIns="0" rtlCol="0">
            <a:spAutoFit/>
          </a:bodyPr>
          <a:lstStyle/>
          <a:p>
            <a:pPr marL="12700">
              <a:lnSpc>
                <a:spcPct val="100000"/>
              </a:lnSpc>
              <a:spcBef>
                <a:spcPts val="100"/>
              </a:spcBef>
            </a:pPr>
            <a:r>
              <a:rPr sz="900" b="0">
                <a:solidFill>
                  <a:srgbClr val="C9252B"/>
                </a:solidFill>
                <a:latin typeface="Klavika Lt"/>
                <a:cs typeface="Klavika Lt"/>
              </a:rPr>
              <a:t>Forum</a:t>
            </a:r>
            <a:r>
              <a:rPr sz="900" b="0" spc="-55">
                <a:solidFill>
                  <a:srgbClr val="C9252B"/>
                </a:solidFill>
                <a:latin typeface="Klavika Lt"/>
                <a:cs typeface="Klavika Lt"/>
              </a:rPr>
              <a:t> </a:t>
            </a:r>
            <a:r>
              <a:rPr sz="900" b="0">
                <a:solidFill>
                  <a:srgbClr val="C9252B"/>
                </a:solidFill>
                <a:latin typeface="Klavika Lt"/>
                <a:cs typeface="Klavika Lt"/>
              </a:rPr>
              <a:t>zur</a:t>
            </a:r>
            <a:r>
              <a:rPr sz="900" b="0" spc="-50">
                <a:solidFill>
                  <a:srgbClr val="C9252B"/>
                </a:solidFill>
                <a:latin typeface="Klavika Lt"/>
                <a:cs typeface="Klavika Lt"/>
              </a:rPr>
              <a:t> </a:t>
            </a:r>
            <a:r>
              <a:rPr sz="900" b="0" spc="-10">
                <a:solidFill>
                  <a:srgbClr val="C9252B"/>
                </a:solidFill>
                <a:latin typeface="Klavika Lt"/>
                <a:cs typeface="Klavika Lt"/>
              </a:rPr>
              <a:t>Räte</a:t>
            </a:r>
            <a:r>
              <a:rPr lang="de-DE" sz="900" b="0" spc="-10">
                <a:solidFill>
                  <a:srgbClr val="C9252B"/>
                </a:solidFill>
                <a:latin typeface="Klavika Lt"/>
                <a:cs typeface="Klavika Lt"/>
              </a:rPr>
              <a:t>arbeit</a:t>
            </a:r>
            <a:endParaRPr sz="900">
              <a:latin typeface="Klavika Lt"/>
              <a:cs typeface="Klavika Lt"/>
            </a:endParaRPr>
          </a:p>
        </p:txBody>
      </p:sp>
      <p:sp>
        <p:nvSpPr>
          <p:cNvPr id="13" name="Textfeld 12">
            <a:extLst>
              <a:ext uri="{FF2B5EF4-FFF2-40B4-BE49-F238E27FC236}">
                <a16:creationId xmlns:a16="http://schemas.microsoft.com/office/drawing/2014/main" xmlns="" id="{C50D7E93-27C0-1947-8925-E29B1B840441}"/>
              </a:ext>
            </a:extLst>
          </p:cNvPr>
          <p:cNvSpPr txBox="1"/>
          <p:nvPr/>
        </p:nvSpPr>
        <p:spPr>
          <a:xfrm>
            <a:off x="1371600" y="1219200"/>
            <a:ext cx="6236107" cy="4278094"/>
          </a:xfrm>
          <a:prstGeom prst="rect">
            <a:avLst/>
          </a:prstGeom>
          <a:noFill/>
        </p:spPr>
        <p:txBody>
          <a:bodyPr wrap="square">
            <a:spAutoFit/>
          </a:bodyPr>
          <a:lstStyle/>
          <a:p>
            <a:r>
              <a:rPr lang="de-DE" sz="1800" b="0" i="0" u="none" strike="noStrike" baseline="0">
                <a:solidFill>
                  <a:srgbClr val="C5191A"/>
                </a:solidFill>
                <a:latin typeface="Klavika Basic Regular"/>
              </a:rPr>
              <a:t>Ihre Ansprechpartner*innen: </a:t>
            </a:r>
          </a:p>
          <a:p>
            <a:endParaRPr lang="de-DE" sz="1800" b="1" i="0" u="none" strike="noStrike" baseline="0">
              <a:solidFill>
                <a:srgbClr val="C5191A"/>
              </a:solidFill>
              <a:latin typeface="Klavika Basic Bold"/>
            </a:endParaRPr>
          </a:p>
          <a:p>
            <a:r>
              <a:rPr lang="de-DE" sz="1800" b="1" i="0" u="none" strike="noStrike" baseline="0">
                <a:solidFill>
                  <a:srgbClr val="C5191A"/>
                </a:solidFill>
                <a:latin typeface="Klavika Basic Bold"/>
              </a:rPr>
              <a:t>Referat für die pastoralen Räte in der Pfarrei und im Pastoralem Raum</a:t>
            </a:r>
            <a:endParaRPr lang="de-DE" sz="1800" b="0" i="0" u="none" strike="noStrike" baseline="0">
              <a:solidFill>
                <a:srgbClr val="C5191A"/>
              </a:solidFill>
              <a:latin typeface="Klavika Basic Bold"/>
            </a:endParaRPr>
          </a:p>
          <a:p>
            <a:endParaRPr lang="de-DE" sz="1800" b="0" i="0" u="none" strike="noStrike" baseline="0">
              <a:solidFill>
                <a:srgbClr val="C5191A"/>
              </a:solidFill>
              <a:latin typeface="Klavika Basic Regular"/>
            </a:endParaRPr>
          </a:p>
          <a:p>
            <a:r>
              <a:rPr lang="de-DE" sz="1800" b="0" i="0" u="none" strike="noStrike" baseline="0">
                <a:solidFill>
                  <a:srgbClr val="C5191A"/>
                </a:solidFill>
                <a:latin typeface="Klavika Basic Regular"/>
              </a:rPr>
              <a:t>Dr. Thomas Fößel</a:t>
            </a:r>
          </a:p>
          <a:p>
            <a:r>
              <a:rPr lang="de-DE" sz="1800" b="0" i="0" u="none" strike="noStrike" baseline="0">
                <a:solidFill>
                  <a:srgbClr val="C5191A"/>
                </a:solidFill>
                <a:latin typeface="Klavika Basic Regular"/>
              </a:rPr>
              <a:t>Referent für die pastoralen Räte in der Pfarrei und im Pastoralen Raum</a:t>
            </a:r>
          </a:p>
          <a:p>
            <a:endParaRPr lang="de-DE" sz="1800" b="0" i="0" u="none" strike="noStrike" baseline="0">
              <a:solidFill>
                <a:srgbClr val="C5191A"/>
              </a:solidFill>
              <a:latin typeface="Klavika Basic Regular"/>
            </a:endParaRPr>
          </a:p>
          <a:p>
            <a:r>
              <a:rPr lang="de-DE" sz="1800" b="0" i="0" u="none" strike="noStrike" baseline="0">
                <a:solidFill>
                  <a:srgbClr val="C5191A"/>
                </a:solidFill>
                <a:latin typeface="Klavika Basic Regular"/>
              </a:rPr>
              <a:t>Sachbearbeitung: Melanie Engelmann </a:t>
            </a:r>
          </a:p>
          <a:p>
            <a:endParaRPr lang="de-DE" sz="1800" b="0" i="0" u="none" strike="noStrike" baseline="0">
              <a:solidFill>
                <a:srgbClr val="C5191A"/>
              </a:solidFill>
              <a:latin typeface="Klavika Basic Regular"/>
            </a:endParaRPr>
          </a:p>
          <a:p>
            <a:r>
              <a:rPr lang="nb-NO" sz="1800" b="0" i="0" u="none" strike="noStrike" baseline="0">
                <a:solidFill>
                  <a:srgbClr val="C5191A"/>
                </a:solidFill>
                <a:latin typeface="Klavika Basic Regular"/>
              </a:rPr>
              <a:t>raete@bistum-trier.de | Telefon 06 51 | 7105-183 </a:t>
            </a:r>
          </a:p>
          <a:p>
            <a:endParaRPr lang="nb-NO">
              <a:solidFill>
                <a:srgbClr val="C5191A"/>
              </a:solidFill>
              <a:latin typeface="Klavika Basic Regular"/>
            </a:endParaRPr>
          </a:p>
          <a:p>
            <a:r>
              <a:rPr lang="nb-NO" sz="1900">
                <a:solidFill>
                  <a:srgbClr val="C5191A"/>
                </a:solidFill>
                <a:latin typeface="Klavika Basic Regular"/>
              </a:rPr>
              <a:t>Wenden Sie sich gerne an uns, wenn wir Sie unterstützen können!</a:t>
            </a:r>
            <a:endParaRPr lang="de-DE" sz="1900">
              <a:solidFill>
                <a:srgbClr val="222222"/>
              </a:solidFill>
              <a:latin typeface="Gill Sans MT" panose="020B0502020104020203" pitchFamily="34" charset="0"/>
            </a:endParaRPr>
          </a:p>
        </p:txBody>
      </p:sp>
    </p:spTree>
    <p:extLst>
      <p:ext uri="{BB962C8B-B14F-4D97-AF65-F5344CB8AC3E}">
        <p14:creationId xmlns:p14="http://schemas.microsoft.com/office/powerpoint/2010/main" val="1625700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3077766"/>
          </a:xfrm>
          <a:prstGeom prst="rect">
            <a:avLst/>
          </a:prstGeom>
          <a:noFill/>
        </p:spPr>
        <p:txBody>
          <a:bodyPr wrap="square" rtlCol="0">
            <a:spAutoFit/>
          </a:bodyPr>
          <a:lstStyle/>
          <a:p>
            <a:pPr marL="342900" indent="-342900">
              <a:buAutoNum type="arabicPeriod"/>
            </a:pPr>
            <a:r>
              <a:rPr lang="de-DE" dirty="0">
                <a:solidFill>
                  <a:srgbClr val="0A296C"/>
                </a:solidFill>
              </a:rPr>
              <a:t>Der amtierende Pfarreienrat der Pfarreiengemeinschaft wird am 01.01.2024 automatisch zum neuen Pfarrgemeinderat der Fusionspfarrei.</a:t>
            </a:r>
          </a:p>
          <a:p>
            <a:pPr marL="342900" indent="-342900">
              <a:buAutoNum type="arabicPeriod"/>
            </a:pPr>
            <a:endParaRPr lang="de-DE" dirty="0">
              <a:solidFill>
                <a:srgbClr val="0A296C"/>
              </a:solidFill>
            </a:endParaRPr>
          </a:p>
          <a:p>
            <a:pPr marL="342900" indent="-342900">
              <a:buAutoNum type="arabicPeriod"/>
            </a:pPr>
            <a:r>
              <a:rPr lang="de-DE" dirty="0">
                <a:solidFill>
                  <a:srgbClr val="0A296C"/>
                </a:solidFill>
              </a:rPr>
              <a:t>Eine Konstituierung ist nicht notwendig.</a:t>
            </a:r>
          </a:p>
          <a:p>
            <a:pPr marL="342900" indent="-342900">
              <a:buAutoNum type="arabicPeriod"/>
            </a:pPr>
            <a:endParaRPr lang="de-DE" dirty="0">
              <a:solidFill>
                <a:srgbClr val="0A296C"/>
              </a:solidFill>
            </a:endParaRPr>
          </a:p>
          <a:p>
            <a:pPr marL="342900" indent="-342900">
              <a:buAutoNum type="arabicPeriod"/>
            </a:pPr>
            <a:r>
              <a:rPr lang="de-DE" dirty="0">
                <a:solidFill>
                  <a:srgbClr val="0A296C"/>
                </a:solidFill>
              </a:rPr>
              <a:t>Der neue Pfarrgemeinderat kann im Rahmen der Ordnung weitere Personen in den neuen Rat berufen.</a:t>
            </a:r>
          </a:p>
          <a:p>
            <a:pPr marL="342900" indent="-342900">
              <a:buAutoNum type="arabicPeriod"/>
            </a:pPr>
            <a:endParaRPr lang="de-DE" dirty="0">
              <a:solidFill>
                <a:srgbClr val="0A296C"/>
              </a:solidFill>
            </a:endParaRPr>
          </a:p>
          <a:p>
            <a:pPr marL="342900" indent="-342900">
              <a:buAutoNum type="arabicPeriod"/>
            </a:pPr>
            <a:endParaRPr lang="de-DE" dirty="0">
              <a:solidFill>
                <a:srgbClr val="0A296C"/>
              </a:solidFill>
            </a:endParaRPr>
          </a:p>
          <a:p>
            <a:pPr marL="342900" indent="-342900">
              <a:buAutoNum type="arabicPeriod"/>
            </a:pPr>
            <a:endParaRPr lang="de-DE" sz="1400" dirty="0">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pPr algn="ctr"/>
            <a:r>
              <a:rPr lang="de-DE" sz="2000" dirty="0">
                <a:solidFill>
                  <a:srgbClr val="0A296C"/>
                </a:solidFill>
              </a:rPr>
              <a:t>Der bisherige Pfarreienrat bildet den neuen Pfarrgemeinderat</a:t>
            </a:r>
          </a:p>
        </p:txBody>
      </p:sp>
    </p:spTree>
    <p:extLst>
      <p:ext uri="{BB962C8B-B14F-4D97-AF65-F5344CB8AC3E}">
        <p14:creationId xmlns:p14="http://schemas.microsoft.com/office/powerpoint/2010/main" val="903410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2246769"/>
          </a:xfrm>
          <a:prstGeom prst="rect">
            <a:avLst/>
          </a:prstGeom>
          <a:noFill/>
        </p:spPr>
        <p:txBody>
          <a:bodyPr wrap="square" rtlCol="0">
            <a:spAutoFit/>
          </a:bodyPr>
          <a:lstStyle/>
          <a:p>
            <a:pPr marL="342900" indent="-342900">
              <a:buAutoNum type="arabicPeriod"/>
            </a:pPr>
            <a:endParaRPr lang="de-DE">
              <a:solidFill>
                <a:srgbClr val="0A296C"/>
              </a:solidFill>
            </a:endParaRPr>
          </a:p>
          <a:p>
            <a:pPr marL="342900" indent="-342900">
              <a:buFont typeface="+mj-lt"/>
              <a:buAutoNum type="arabicPeriod" startAt="4"/>
            </a:pPr>
            <a:r>
              <a:rPr lang="de-DE">
                <a:solidFill>
                  <a:srgbClr val="0A296C"/>
                </a:solidFill>
              </a:rPr>
              <a:t>Nach dem 01.01.2024 führt der neue Pfarrgemeinderat binnen dreier Monate Verwaltungsratswahlen durch.</a:t>
            </a:r>
          </a:p>
          <a:p>
            <a:pPr marL="342900" indent="-342900">
              <a:buAutoNum type="arabicPeriod" startAt="4"/>
            </a:pPr>
            <a:endParaRPr lang="de-DE">
              <a:solidFill>
                <a:srgbClr val="0A296C"/>
              </a:solidFill>
            </a:endParaRPr>
          </a:p>
          <a:p>
            <a:pPr marL="342900" indent="-342900">
              <a:buAutoNum type="arabicPeriod" startAt="4"/>
            </a:pPr>
            <a:r>
              <a:rPr lang="de-DE">
                <a:solidFill>
                  <a:srgbClr val="0A296C"/>
                </a:solidFill>
              </a:rPr>
              <a:t>Ab dem 01.01.2024 ist der Pfarrer bzw. Pfarrverwalter der Verwalter der Kirchengemeinde.</a:t>
            </a:r>
          </a:p>
          <a:p>
            <a:pPr marL="342900" indent="-342900">
              <a:buAutoNum type="arabicPeriod" startAt="4"/>
            </a:pPr>
            <a:endParaRPr lang="de-DE">
              <a:solidFill>
                <a:srgbClr val="0A296C"/>
              </a:solidFill>
            </a:endParaRPr>
          </a:p>
          <a:p>
            <a:pPr marL="342900" indent="-342900">
              <a:buAutoNum type="arabicPeriod" startAt="4"/>
            </a:pPr>
            <a:endParaRPr lang="de-DE" sz="1400" err="1">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pPr algn="ctr"/>
            <a:r>
              <a:rPr lang="de-DE" sz="2000" dirty="0">
                <a:solidFill>
                  <a:srgbClr val="0A296C"/>
                </a:solidFill>
              </a:rPr>
              <a:t>Der bisherige Pfarreienrat bildet den neuen Pfarrgemeinderat</a:t>
            </a:r>
          </a:p>
        </p:txBody>
      </p:sp>
    </p:spTree>
    <p:extLst>
      <p:ext uri="{BB962C8B-B14F-4D97-AF65-F5344CB8AC3E}">
        <p14:creationId xmlns:p14="http://schemas.microsoft.com/office/powerpoint/2010/main" val="1209261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3908762"/>
          </a:xfrm>
          <a:prstGeom prst="rect">
            <a:avLst/>
          </a:prstGeom>
          <a:noFill/>
        </p:spPr>
        <p:txBody>
          <a:bodyPr wrap="square" rtlCol="0">
            <a:spAutoFit/>
          </a:bodyPr>
          <a:lstStyle/>
          <a:p>
            <a:pPr marL="342900" indent="-342900">
              <a:buAutoNum type="arabicPeriod"/>
            </a:pPr>
            <a:endParaRPr lang="de-DE" dirty="0">
              <a:solidFill>
                <a:srgbClr val="0A296C"/>
              </a:solidFill>
            </a:endParaRPr>
          </a:p>
          <a:p>
            <a:pPr marL="342900" indent="-342900">
              <a:buAutoNum type="arabicPeriod"/>
            </a:pPr>
            <a:r>
              <a:rPr lang="de-DE" dirty="0">
                <a:solidFill>
                  <a:srgbClr val="0A296C"/>
                </a:solidFill>
              </a:rPr>
              <a:t>Der neue Pfarrgemeinderat wird nicht mehr so arbeiten können, wie es in den bisherigen Pfarrgemeinderäten und Kirchengemeinderäten üblich war.</a:t>
            </a:r>
          </a:p>
          <a:p>
            <a:pPr marL="342900" indent="-342900">
              <a:buAutoNum type="arabicPeriod"/>
            </a:pPr>
            <a:endParaRPr lang="de-DE" dirty="0">
              <a:solidFill>
                <a:srgbClr val="0A296C"/>
              </a:solidFill>
            </a:endParaRPr>
          </a:p>
          <a:p>
            <a:pPr marL="342900" indent="-342900">
              <a:buAutoNum type="arabicPeriod"/>
            </a:pPr>
            <a:r>
              <a:rPr lang="de-DE" dirty="0">
                <a:solidFill>
                  <a:srgbClr val="0A296C"/>
                </a:solidFill>
              </a:rPr>
              <a:t>Dies gilt auch für den neu zu wählenden Verwaltungsrat.</a:t>
            </a:r>
          </a:p>
          <a:p>
            <a:pPr marL="342900" indent="-342900">
              <a:buAutoNum type="arabicPeriod"/>
            </a:pPr>
            <a:endParaRPr lang="de-DE" dirty="0">
              <a:solidFill>
                <a:srgbClr val="0A296C"/>
              </a:solidFill>
            </a:endParaRPr>
          </a:p>
          <a:p>
            <a:pPr marL="342900" indent="-342900">
              <a:buAutoNum type="arabicPeriod"/>
            </a:pPr>
            <a:r>
              <a:rPr lang="de-DE" dirty="0">
                <a:solidFill>
                  <a:srgbClr val="0A296C"/>
                </a:solidFill>
              </a:rPr>
              <a:t>Die Arbeit wird sich konzentrieren müssen auf strategische Entscheidungen (Pastorale Schwerpunktsetzungen, Vernetzung unterschiedler Gruppierungen und ggf. Lokalen Teams).</a:t>
            </a:r>
          </a:p>
          <a:p>
            <a:pPr marL="342900" indent="-342900">
              <a:buAutoNum type="arabicPeriod"/>
            </a:pPr>
            <a:endParaRPr lang="de-DE" dirty="0">
              <a:solidFill>
                <a:srgbClr val="0A296C"/>
              </a:solidFill>
            </a:endParaRPr>
          </a:p>
          <a:p>
            <a:pPr marL="342900" indent="-342900">
              <a:buAutoNum type="arabicPeriod"/>
            </a:pPr>
            <a:r>
              <a:rPr lang="de-DE" dirty="0">
                <a:solidFill>
                  <a:srgbClr val="0A296C"/>
                </a:solidFill>
              </a:rPr>
              <a:t>Dies gilt auch für den zukünftigen Verwaltungsrat.</a:t>
            </a:r>
          </a:p>
          <a:p>
            <a:endParaRPr lang="de-DE" dirty="0">
              <a:solidFill>
                <a:srgbClr val="0A296C"/>
              </a:solidFill>
            </a:endParaRPr>
          </a:p>
          <a:p>
            <a:pPr marL="342900" indent="-342900">
              <a:buAutoNum type="arabicPeriod" startAt="4"/>
            </a:pPr>
            <a:endParaRPr lang="de-DE" sz="1400" dirty="0">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r>
              <a:rPr lang="de-DE" sz="2000" dirty="0">
                <a:solidFill>
                  <a:srgbClr val="0A296C"/>
                </a:solidFill>
              </a:rPr>
              <a:t>Konsequenzen für die Arbeit des neuen Pfarrgemeinderates</a:t>
            </a:r>
          </a:p>
        </p:txBody>
      </p:sp>
    </p:spTree>
    <p:extLst>
      <p:ext uri="{BB962C8B-B14F-4D97-AF65-F5344CB8AC3E}">
        <p14:creationId xmlns:p14="http://schemas.microsoft.com/office/powerpoint/2010/main" val="2283812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3908762"/>
          </a:xfrm>
          <a:prstGeom prst="rect">
            <a:avLst/>
          </a:prstGeom>
          <a:noFill/>
        </p:spPr>
        <p:txBody>
          <a:bodyPr wrap="square" rtlCol="0">
            <a:spAutoFit/>
          </a:bodyPr>
          <a:lstStyle/>
          <a:p>
            <a:pPr marL="285750" indent="-285750">
              <a:buFont typeface="Wingdings" panose="05000000000000000000" pitchFamily="2" charset="2"/>
              <a:buChar char="§"/>
            </a:pPr>
            <a:r>
              <a:rPr lang="de-DE" dirty="0">
                <a:solidFill>
                  <a:srgbClr val="0A296C"/>
                </a:solidFill>
              </a:rPr>
              <a:t>Es kann sinnvoll sein, eine erste Phase dem intensivieren Kennenlernen zu widmen (gerne mit externer fachlicher Unterstützung); z.B.</a:t>
            </a:r>
          </a:p>
          <a:p>
            <a:pPr marL="742950" lvl="1" indent="-285750">
              <a:buFont typeface="Wingdings" panose="05000000000000000000" pitchFamily="2" charset="2"/>
              <a:buChar char="§"/>
            </a:pPr>
            <a:r>
              <a:rPr lang="de-DE" dirty="0">
                <a:solidFill>
                  <a:srgbClr val="0A296C"/>
                </a:solidFill>
              </a:rPr>
              <a:t>gemeinsamer Einstiegstag</a:t>
            </a:r>
          </a:p>
          <a:p>
            <a:pPr marL="742950" lvl="1" indent="-285750">
              <a:buFont typeface="Wingdings" panose="05000000000000000000" pitchFamily="2" charset="2"/>
              <a:buChar char="§"/>
            </a:pPr>
            <a:r>
              <a:rPr lang="de-DE" dirty="0">
                <a:solidFill>
                  <a:srgbClr val="0A296C"/>
                </a:solidFill>
              </a:rPr>
              <a:t>Klausurtagung</a:t>
            </a:r>
          </a:p>
          <a:p>
            <a:pPr marL="742950" lvl="1" indent="-285750">
              <a:buFont typeface="Wingdings" panose="05000000000000000000" pitchFamily="2" charset="2"/>
              <a:buChar char="§"/>
            </a:pPr>
            <a:r>
              <a:rPr lang="de-DE" dirty="0">
                <a:solidFill>
                  <a:srgbClr val="0A296C"/>
                </a:solidFill>
              </a:rPr>
              <a:t>Gemeinschaftsaktion</a:t>
            </a:r>
          </a:p>
          <a:p>
            <a:pPr marL="742950" lvl="1"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sinnvoll sein sämtliche in den ehemaligen Pfarreien tätigen Gruppen zu identifizieren und mit ihnen Kontakt aufzunehmen.</a:t>
            </a:r>
          </a:p>
          <a:p>
            <a:pPr marL="285750"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Sinnvoll ist auch ein „Verzeichnis“ aller unterschiedlichen Aktionen, Veranstaltungen und Aktivitäten in den ehemaligen Pfarreien zu erstellen.</a:t>
            </a:r>
          </a:p>
          <a:p>
            <a:pPr marL="342900" indent="-342900">
              <a:buAutoNum type="arabicPeriod" startAt="4"/>
            </a:pPr>
            <a:endParaRPr lang="de-DE" sz="1400" dirty="0">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r>
              <a:rPr lang="de-DE" sz="2000" dirty="0">
                <a:solidFill>
                  <a:srgbClr val="0A296C"/>
                </a:solidFill>
              </a:rPr>
              <a:t>Konsequenzen für die Arbeit des neuen Pfarrgemeinderates</a:t>
            </a:r>
          </a:p>
        </p:txBody>
      </p:sp>
    </p:spTree>
    <p:extLst>
      <p:ext uri="{BB962C8B-B14F-4D97-AF65-F5344CB8AC3E}">
        <p14:creationId xmlns:p14="http://schemas.microsoft.com/office/powerpoint/2010/main" val="3529439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6662409" y="5364372"/>
            <a:ext cx="965441" cy="419312"/>
          </a:xfrm>
          <a:prstGeom prst="rect">
            <a:avLst/>
          </a:prstGeom>
        </p:spPr>
        <p:txBody>
          <a:bodyPr vert="horz" wrap="square" lIns="0" tIns="10317" rIns="0" bIns="0" rtlCol="0">
            <a:spAutoFit/>
          </a:bodyPr>
          <a:lstStyle/>
          <a:p>
            <a:pPr marL="10860" marR="4344" indent="171584">
              <a:lnSpc>
                <a:spcPct val="101899"/>
              </a:lnSpc>
              <a:spcBef>
                <a:spcPts val="81"/>
              </a:spcBef>
            </a:pPr>
            <a:r>
              <a:rPr sz="1325" spc="4">
                <a:solidFill>
                  <a:srgbClr val="FFFFFF"/>
                </a:solidFill>
                <a:latin typeface="Calibri"/>
                <a:cs typeface="Calibri"/>
              </a:rPr>
              <a:t>Synodal- </a:t>
            </a:r>
            <a:r>
              <a:rPr sz="1325" spc="9">
                <a:solidFill>
                  <a:srgbClr val="FFFFFF"/>
                </a:solidFill>
                <a:latin typeface="Calibri"/>
                <a:cs typeface="Calibri"/>
              </a:rPr>
              <a:t> </a:t>
            </a:r>
            <a:r>
              <a:rPr sz="1325" spc="4">
                <a:solidFill>
                  <a:srgbClr val="FFFFFF"/>
                </a:solidFill>
                <a:latin typeface="Calibri"/>
                <a:cs typeface="Calibri"/>
              </a:rPr>
              <a:t>v</a:t>
            </a:r>
            <a:r>
              <a:rPr sz="1325" spc="13">
                <a:solidFill>
                  <a:srgbClr val="FFFFFF"/>
                </a:solidFill>
                <a:latin typeface="Calibri"/>
                <a:cs typeface="Calibri"/>
              </a:rPr>
              <a:t>e</a:t>
            </a:r>
            <a:r>
              <a:rPr sz="1325" spc="-13">
                <a:solidFill>
                  <a:srgbClr val="FFFFFF"/>
                </a:solidFill>
                <a:latin typeface="Calibri"/>
                <a:cs typeface="Calibri"/>
              </a:rPr>
              <a:t>r</a:t>
            </a:r>
            <a:r>
              <a:rPr sz="1325" spc="9">
                <a:solidFill>
                  <a:srgbClr val="FFFFFF"/>
                </a:solidFill>
                <a:latin typeface="Calibri"/>
                <a:cs typeface="Calibri"/>
              </a:rPr>
              <a:t>sa</a:t>
            </a:r>
            <a:r>
              <a:rPr sz="1325" spc="13">
                <a:solidFill>
                  <a:srgbClr val="FFFFFF"/>
                </a:solidFill>
                <a:latin typeface="Calibri"/>
                <a:cs typeface="Calibri"/>
              </a:rPr>
              <a:t>mm</a:t>
            </a:r>
            <a:r>
              <a:rPr sz="1325" spc="4">
                <a:solidFill>
                  <a:srgbClr val="FFFFFF"/>
                </a:solidFill>
                <a:latin typeface="Calibri"/>
                <a:cs typeface="Calibri"/>
              </a:rPr>
              <a:t>lun</a:t>
            </a:r>
            <a:r>
              <a:rPr sz="1325" spc="13">
                <a:solidFill>
                  <a:srgbClr val="FFFFFF"/>
                </a:solidFill>
                <a:latin typeface="Calibri"/>
                <a:cs typeface="Calibri"/>
              </a:rPr>
              <a:t>g</a:t>
            </a:r>
            <a:endParaRPr sz="1325">
              <a:latin typeface="Calibri"/>
              <a:cs typeface="Calibri"/>
            </a:endParaRPr>
          </a:p>
        </p:txBody>
      </p:sp>
      <p:sp>
        <p:nvSpPr>
          <p:cNvPr id="2" name="Textfeld 1">
            <a:extLst>
              <a:ext uri="{FF2B5EF4-FFF2-40B4-BE49-F238E27FC236}">
                <a16:creationId xmlns:a16="http://schemas.microsoft.com/office/drawing/2014/main" xmlns="" id="{492E89E9-3D35-BFA1-169E-FC5022075DF0}"/>
              </a:ext>
            </a:extLst>
          </p:cNvPr>
          <p:cNvSpPr txBox="1"/>
          <p:nvPr/>
        </p:nvSpPr>
        <p:spPr>
          <a:xfrm>
            <a:off x="791580" y="2384884"/>
            <a:ext cx="7668852" cy="4185761"/>
          </a:xfrm>
          <a:prstGeom prst="rect">
            <a:avLst/>
          </a:prstGeom>
          <a:noFill/>
        </p:spPr>
        <p:txBody>
          <a:bodyPr wrap="square" rtlCol="0">
            <a:spAutoFit/>
          </a:bodyPr>
          <a:lstStyle/>
          <a:p>
            <a:pPr marL="285750" indent="-285750">
              <a:buFont typeface="Wingdings" panose="05000000000000000000" pitchFamily="2" charset="2"/>
              <a:buChar char="§"/>
            </a:pPr>
            <a:r>
              <a:rPr lang="de-DE" dirty="0">
                <a:solidFill>
                  <a:srgbClr val="0A296C"/>
                </a:solidFill>
              </a:rPr>
              <a:t>Es kann sinnvoll sein, nach einer „Findungs- und Kennenlernphase“ im Rat Schwerpunkte der Ratsarbeit gemeinsam festzulegen.</a:t>
            </a:r>
          </a:p>
          <a:p>
            <a:pPr marL="742950" lvl="1"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sinnvoll sein, einen Rahmenkalender zu erarbeiten (jeweils vom 01. Januar eines Jahres bis zum übernächsten Ostern).</a:t>
            </a:r>
          </a:p>
          <a:p>
            <a:pPr marL="285750"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sinnvoll sein, Fachausschüsse zu einzelnen Themen zu gründen, die NICHT NUR aus Ratsmitgliedern bestehen</a:t>
            </a:r>
          </a:p>
          <a:p>
            <a:pPr marL="742950" lvl="1" indent="-285750">
              <a:buFont typeface="Wingdings" panose="05000000000000000000" pitchFamily="2" charset="2"/>
              <a:buChar char="§"/>
            </a:pPr>
            <a:r>
              <a:rPr lang="de-DE" dirty="0">
                <a:solidFill>
                  <a:srgbClr val="0A296C"/>
                </a:solidFill>
              </a:rPr>
              <a:t>Fachausschuss Katechese</a:t>
            </a:r>
          </a:p>
          <a:p>
            <a:pPr marL="742950" lvl="1" indent="-285750">
              <a:buFont typeface="Wingdings" panose="05000000000000000000" pitchFamily="2" charset="2"/>
              <a:buChar char="§"/>
            </a:pPr>
            <a:r>
              <a:rPr lang="de-DE" dirty="0">
                <a:solidFill>
                  <a:srgbClr val="0A296C"/>
                </a:solidFill>
              </a:rPr>
              <a:t>Fachausschuss Liturgisches Leben</a:t>
            </a:r>
          </a:p>
          <a:p>
            <a:pPr marL="742950" lvl="1" indent="-285750">
              <a:buFont typeface="Wingdings" panose="05000000000000000000" pitchFamily="2" charset="2"/>
              <a:buChar char="§"/>
            </a:pPr>
            <a:endParaRPr lang="de-DE" dirty="0">
              <a:solidFill>
                <a:srgbClr val="0A296C"/>
              </a:solidFill>
            </a:endParaRPr>
          </a:p>
          <a:p>
            <a:pPr marL="285750" indent="-285750">
              <a:buFont typeface="Wingdings" panose="05000000000000000000" pitchFamily="2" charset="2"/>
              <a:buChar char="§"/>
            </a:pPr>
            <a:r>
              <a:rPr lang="de-DE" dirty="0">
                <a:solidFill>
                  <a:srgbClr val="0A296C"/>
                </a:solidFill>
              </a:rPr>
              <a:t>Es kann sinnvoll sein, ein gemeinsames Projekt ins Auge zu fassen (z.B. ein Pfarrgründungsfest, eine gemeinsame Wallfahrt, ein Familientag etc.)</a:t>
            </a:r>
          </a:p>
          <a:p>
            <a:pPr marL="342900" indent="-342900">
              <a:buAutoNum type="arabicPeriod" startAt="4"/>
            </a:pPr>
            <a:endParaRPr lang="de-DE" sz="1400" dirty="0">
              <a:solidFill>
                <a:srgbClr val="0A296C"/>
              </a:solidFill>
            </a:endParaRPr>
          </a:p>
        </p:txBody>
      </p:sp>
      <p:sp>
        <p:nvSpPr>
          <p:cNvPr id="3" name="Textfeld 2">
            <a:extLst>
              <a:ext uri="{FF2B5EF4-FFF2-40B4-BE49-F238E27FC236}">
                <a16:creationId xmlns:a16="http://schemas.microsoft.com/office/drawing/2014/main" xmlns="" id="{BAB0A012-866C-2882-F74B-C2096BF7CCE3}"/>
              </a:ext>
            </a:extLst>
          </p:cNvPr>
          <p:cNvSpPr txBox="1"/>
          <p:nvPr/>
        </p:nvSpPr>
        <p:spPr>
          <a:xfrm>
            <a:off x="791580" y="1007936"/>
            <a:ext cx="6372708" cy="707886"/>
          </a:xfrm>
          <a:prstGeom prst="rect">
            <a:avLst/>
          </a:prstGeom>
          <a:noFill/>
        </p:spPr>
        <p:txBody>
          <a:bodyPr wrap="square" rtlCol="0">
            <a:spAutoFit/>
          </a:bodyPr>
          <a:lstStyle/>
          <a:p>
            <a:r>
              <a:rPr lang="de-DE" sz="2000" dirty="0">
                <a:solidFill>
                  <a:srgbClr val="0A296C"/>
                </a:solidFill>
              </a:rPr>
              <a:t>Konsequenzen für die Arbeit des neuen Pfarrgemeinderates</a:t>
            </a:r>
          </a:p>
        </p:txBody>
      </p:sp>
    </p:spTree>
    <p:extLst>
      <p:ext uri="{BB962C8B-B14F-4D97-AF65-F5344CB8AC3E}">
        <p14:creationId xmlns:p14="http://schemas.microsoft.com/office/powerpoint/2010/main" val="1101981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NAME" val="Erzbistum Köln (Arial)"/>
  <p:tag name="EE4P_STYLE_ID" val="WKyghtG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8OKKxKXzL9R4wbkcQlUog"/>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8OKKxKXzL9R4wbkcQlUog"/>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F2F2"/>
        </a:solidFill>
        <a:ln>
          <a:solidFill>
            <a:srgbClr val="F2F2F2"/>
          </a:solidFill>
        </a:ln>
        <a:effectLst/>
      </a:spPr>
      <a:bodyPr rtlCol="0" anchor="ctr"/>
      <a:lstStyle>
        <a:defPPr algn="ctr">
          <a:defRPr sz="1400" dirty="0" err="1" smtClean="0">
            <a:solidFill>
              <a:srgbClr val="0A296C"/>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err="1" smtClean="0">
            <a:solidFill>
              <a:srgbClr val="0A296C"/>
            </a:solidFill>
          </a:defRPr>
        </a:defPPr>
      </a:lstStyle>
    </a:txDef>
  </a:objectDefaults>
  <a:extraClrSchemeLst/>
</a:theme>
</file>

<file path=ppt/theme/theme2.xml><?xml version="1.0" encoding="utf-8"?>
<a:theme xmlns:a="http://schemas.openxmlformats.org/drawingml/2006/main" name="1_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F2F2"/>
        </a:solidFill>
        <a:ln>
          <a:solidFill>
            <a:srgbClr val="F2F2F2"/>
          </a:solidFill>
        </a:ln>
        <a:effectLst/>
      </a:spPr>
      <a:bodyPr rtlCol="0" anchor="ctr"/>
      <a:lstStyle>
        <a:defPPr algn="ctr">
          <a:defRPr sz="1400" dirty="0" err="1" smtClean="0">
            <a:solidFill>
              <a:srgbClr val="0A296C"/>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err="1" smtClean="0">
            <a:solidFill>
              <a:srgbClr val="0A296C"/>
            </a:solidFill>
          </a:defRPr>
        </a:defPPr>
      </a:lstStyle>
    </a:tx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vom_xdate xmlns="http://schemas.microsoft.com/sharepoint/v4" xsi:nil="true"/>
    <vom_ydate xmlns="http://schemas.microsoft.com/sharepoint/v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D24E95B1C8ADF643AAA056297B7268B3" ma:contentTypeVersion="2" ma:contentTypeDescription="Ein neues Dokument erstellen." ma:contentTypeScope="" ma:versionID="28e228113ade994d21c85d3122bad382">
  <xsd:schema xmlns:xsd="http://www.w3.org/2001/XMLSchema" xmlns:xs="http://www.w3.org/2001/XMLSchema" xmlns:p="http://schemas.microsoft.com/office/2006/metadata/properties" xmlns:ns2="http://schemas.microsoft.com/sharepoint/v4" targetNamespace="http://schemas.microsoft.com/office/2006/metadata/properties" ma:root="true" ma:fieldsID="cb35566bd93a143de33b173a13bb5bc2" ns2:_="">
    <xsd:import namespace="http://schemas.microsoft.com/sharepoint/v4"/>
    <xsd:element name="properties">
      <xsd:complexType>
        <xsd:sequence>
          <xsd:element name="documentManagement">
            <xsd:complexType>
              <xsd:all>
                <xsd:element ref="ns2:vom_xdate" minOccurs="0"/>
                <xsd:element ref="ns2:vom_y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vom_xdate" ma:index="8" nillable="true" ma:displayName="Gültig ab" ma:format="DateOnly" ma:internalName="vom_xdate">
      <xsd:simpleType>
        <xsd:restriction base="dms:DateTime"/>
      </xsd:simpleType>
    </xsd:element>
    <xsd:element name="vom_ydate" ma:index="9" nillable="true" ma:displayName="Gültig bis" ma:format="DateOnly" ma:internalName="vom_y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A22E34-F9E9-4B05-ADAA-27366D2515D6}">
  <ds:schemaRefs>
    <ds:schemaRef ds:uri="http://schemas.microsoft.com/office/2006/metadata/properties"/>
    <ds:schemaRef ds:uri="http://schemas.microsoft.com/office/infopath/2007/PartnerControls"/>
    <ds:schemaRef ds:uri="http://schemas.microsoft.com/sharepoint/v4"/>
  </ds:schemaRefs>
</ds:datastoreItem>
</file>

<file path=customXml/itemProps2.xml><?xml version="1.0" encoding="utf-8"?>
<ds:datastoreItem xmlns:ds="http://schemas.openxmlformats.org/officeDocument/2006/customXml" ds:itemID="{B52C5B0E-3EFD-4ADF-B5BC-C635C82138EC}">
  <ds:schemaRefs>
    <ds:schemaRef ds:uri="http://schemas.microsoft.com/sharepoint/v3/contenttype/forms"/>
  </ds:schemaRefs>
</ds:datastoreItem>
</file>

<file path=customXml/itemProps3.xml><?xml version="1.0" encoding="utf-8"?>
<ds:datastoreItem xmlns:ds="http://schemas.openxmlformats.org/officeDocument/2006/customXml" ds:itemID="{83557626-C82D-46EF-BEF7-D9E7730382E9}">
  <ds:schemaRefs>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4"/>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1679</Words>
  <Application>Microsoft Office PowerPoint</Application>
  <PresentationFormat>Bildschirmpräsentation (4:3)</PresentationFormat>
  <Paragraphs>324</Paragraphs>
  <Slides>42</Slides>
  <Notes>10</Notes>
  <HiddenSlides>0</HiddenSlides>
  <MMClips>0</MMClips>
  <ScaleCrop>false</ScaleCrop>
  <HeadingPairs>
    <vt:vector size="8" baseType="variant">
      <vt:variant>
        <vt:lpstr>Verwendete Schriftarten</vt:lpstr>
      </vt:variant>
      <vt:variant>
        <vt:i4>17</vt:i4>
      </vt:variant>
      <vt:variant>
        <vt:lpstr>Design</vt:lpstr>
      </vt:variant>
      <vt:variant>
        <vt:i4>2</vt:i4>
      </vt:variant>
      <vt:variant>
        <vt:lpstr>Eingebettete OLE-Server</vt:lpstr>
      </vt:variant>
      <vt:variant>
        <vt:i4>1</vt:i4>
      </vt:variant>
      <vt:variant>
        <vt:lpstr>Folientitel</vt:lpstr>
      </vt:variant>
      <vt:variant>
        <vt:i4>42</vt:i4>
      </vt:variant>
    </vt:vector>
  </HeadingPairs>
  <TitlesOfParts>
    <vt:vector size="62" baseType="lpstr">
      <vt:lpstr>Almaden Sans</vt:lpstr>
      <vt:lpstr>Arial</vt:lpstr>
      <vt:lpstr>Calibri</vt:lpstr>
      <vt:lpstr>Garamond</vt:lpstr>
      <vt:lpstr>Gill Sans MT</vt:lpstr>
      <vt:lpstr>Hoefler Text</vt:lpstr>
      <vt:lpstr>ITC Officina Sans Book</vt:lpstr>
      <vt:lpstr>Klavika Basic Bold</vt:lpstr>
      <vt:lpstr>Klavika Basic Regular</vt:lpstr>
      <vt:lpstr>Klavika Bd</vt:lpstr>
      <vt:lpstr>Klavika Lt</vt:lpstr>
      <vt:lpstr>MS Mincho</vt:lpstr>
      <vt:lpstr>Myriad Pro</vt:lpstr>
      <vt:lpstr>Symbol</vt:lpstr>
      <vt:lpstr>Times New Roman</vt:lpstr>
      <vt:lpstr>Trebuchet MS</vt:lpstr>
      <vt:lpstr>Wingdings</vt:lpstr>
      <vt:lpstr>Office-Design</vt:lpstr>
      <vt:lpstr>1_Office-Design</vt:lpstr>
      <vt:lpstr>think-cell Slide</vt:lpstr>
      <vt:lpstr>Informationen zur Rätearbeit in den Fusionspfarreien     </vt:lpstr>
      <vt:lpstr>PowerPoint-Präsentation</vt:lpstr>
      <vt:lpstr>1. Wie funktioniert der Übergang vom Pfarreienrat zum Pfarrgemeinderat praktisch? Was ändert sich bei der Ratsarbeit?  2. Vorblick auf die Verwaltungsratswahlen im Jahr 2024  3. Informationen zu „Lokalen Teams“ und „Verwaltungsteams“  4. Unterstützungsangebote für Räte von Seiten des Bistums  5. Ihre Themen – Ihre Fragen </vt:lpstr>
      <vt:lpstr>1. Wie funktioniert der Übergang vom Pfarreienrat zum Pfarrgemeinderat praktisch? Was ändert sich bei der Ratsarbeit?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3. Informationen zu „Lokalen Teams“ und „Verwaltungsteams“   </vt:lpstr>
      <vt:lpstr>   Lokale Teams</vt:lpstr>
      <vt:lpstr>PowerPoint-Präsentation</vt:lpstr>
      <vt:lpstr>zusammentun</vt:lpstr>
      <vt:lpstr>zusammentun</vt:lpstr>
      <vt:lpstr>zusammentun</vt:lpstr>
      <vt:lpstr>zusammentun</vt:lpstr>
      <vt:lpstr>zusammentun</vt:lpstr>
      <vt:lpstr>zusammentun</vt:lpstr>
      <vt:lpstr>zusammentun</vt:lpstr>
      <vt:lpstr>zusammentun</vt:lpstr>
      <vt:lpstr>zusammentun</vt:lpstr>
      <vt:lpstr>zusammentun</vt:lpstr>
      <vt:lpstr>PowerPoint-Präsentation</vt:lpstr>
      <vt:lpstr>PowerPoint-Präsentation</vt:lpstr>
      <vt:lpstr>PowerPoint-Präsentation</vt:lpstr>
      <vt:lpstr>  4. Unterstützungsangebote für Räte von Seiten des Bistums   </vt:lpstr>
      <vt:lpstr>PowerPoint-Präsentation</vt:lpstr>
      <vt:lpstr>PowerPoint-Präsentation</vt:lpstr>
      <vt:lpstr>  Ihre Ansprechpartner*innen: Bischöfliches Generalvikariat Trier  Referent: Dr. Thomas P. Fößel  Sachbearbeitung: Melanie Engelmann raete@bistum-trier.de | Telefon 06 51 | 7105-183 </vt:lpstr>
      <vt:lpstr>  5. Ihre Themen – Ihre Fragen </vt:lpstr>
      <vt:lpstr>PowerPoint-Präsentation</vt:lpstr>
      <vt:lpstr>PowerPoint-Präsentation</vt:lpstr>
      <vt:lpstr>PowerPoint-Präsentation</vt:lpstr>
      <vt:lpstr>PowerPoint-Präsentation</vt:lpstr>
    </vt:vector>
  </TitlesOfParts>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2</dc:title>
  <dc:creator>Rebecca</dc:creator>
  <cp:lastModifiedBy>Melanie Engelmann</cp:lastModifiedBy>
  <cp:revision>3</cp:revision>
  <cp:lastPrinted>1999-12-31T23:00:00Z</cp:lastPrinted>
  <dcterms:created xsi:type="dcterms:W3CDTF">2020-02-24T16:34:35Z</dcterms:created>
  <dcterms:modified xsi:type="dcterms:W3CDTF">2023-11-27T09:1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4E95B1C8ADF643AAA056297B7268B3</vt:lpwstr>
  </property>
</Properties>
</file>